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30"/>
  </p:notesMasterIdLst>
  <p:handoutMasterIdLst>
    <p:handoutMasterId r:id="rId31"/>
  </p:handoutMasterIdLst>
  <p:sldIdLst>
    <p:sldId id="308" r:id="rId2"/>
    <p:sldId id="303" r:id="rId3"/>
    <p:sldId id="312" r:id="rId4"/>
    <p:sldId id="311" r:id="rId5"/>
    <p:sldId id="310" r:id="rId6"/>
    <p:sldId id="309" r:id="rId7"/>
    <p:sldId id="261" r:id="rId8"/>
    <p:sldId id="269" r:id="rId9"/>
    <p:sldId id="304" r:id="rId10"/>
    <p:sldId id="305" r:id="rId11"/>
    <p:sldId id="316" r:id="rId12"/>
    <p:sldId id="315" r:id="rId13"/>
    <p:sldId id="314" r:id="rId14"/>
    <p:sldId id="313" r:id="rId15"/>
    <p:sldId id="317" r:id="rId16"/>
    <p:sldId id="297" r:id="rId17"/>
    <p:sldId id="307" r:id="rId18"/>
    <p:sldId id="318" r:id="rId19"/>
    <p:sldId id="319" r:id="rId20"/>
    <p:sldId id="320" r:id="rId21"/>
    <p:sldId id="321" r:id="rId22"/>
    <p:sldId id="322" r:id="rId23"/>
    <p:sldId id="323" r:id="rId24"/>
    <p:sldId id="324" r:id="rId25"/>
    <p:sldId id="325" r:id="rId26"/>
    <p:sldId id="326" r:id="rId27"/>
    <p:sldId id="327" r:id="rId28"/>
    <p:sldId id="299" r:id="rId29"/>
  </p:sldIdLst>
  <p:sldSz cx="10080625" cy="7561263"/>
  <p:notesSz cx="6858000" cy="9144000"/>
  <p:custDataLst>
    <p:tags r:id="rId3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56" userDrawn="1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082" userDrawn="1">
          <p15:clr>
            <a:srgbClr val="A4A3A4"/>
          </p15:clr>
        </p15:guide>
        <p15:guide id="29" orient="horz" pos="4309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32" autoAdjust="0"/>
    <p:restoredTop sz="41276" autoAdjust="0"/>
  </p:normalViewPr>
  <p:slideViewPr>
    <p:cSldViewPr snapToGrid="0" snapToObjects="1">
      <p:cViewPr varScale="1">
        <p:scale>
          <a:sx n="28" d="100"/>
          <a:sy n="28" d="100"/>
        </p:scale>
        <p:origin x="-2938" y="-72"/>
      </p:cViewPr>
      <p:guideLst>
        <p:guide orient="horz" pos="2382"/>
        <p:guide orient="horz" pos="226"/>
        <p:guide orient="horz" pos="1021"/>
        <p:guide orient="horz" pos="3856"/>
        <p:guide orient="horz" pos="749"/>
        <p:guide orient="horz" pos="4082"/>
        <p:guide orient="horz" pos="4309"/>
        <p:guide orient="horz" pos="4536"/>
        <p:guide pos="227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150" d="100"/>
          <a:sy n="150" d="100"/>
        </p:scale>
        <p:origin x="4308" y="108"/>
      </p:cViewPr>
      <p:guideLst>
        <p:guide orient="horz" pos="2880"/>
        <p:guide pos="2160"/>
        <p:guide pos="302"/>
        <p:guide pos="401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1C059362-5D9B-49BF-89FE-8A9A0EDE4BE1}" type="pres">
      <dgm:prSet presAssocID="{5776D148-4453-4DD8-A270-633E0380B448}" presName="arrowDiagram1" presStyleCnt="0">
        <dgm:presLayoutVars>
          <dgm:bulletEnabled val="1"/>
        </dgm:presLayoutVars>
      </dgm:prSet>
      <dgm:spPr/>
    </dgm:pt>
    <dgm:pt modelId="{CD544C81-75E2-44D8-96FA-A6C08A2F6D90}" type="pres">
      <dgm:prSet presAssocID="{857F0A25-AAA0-4B5D-8135-0848D29AD5EE}" presName="bullet1" presStyleLbl="node1" presStyleIdx="0" presStyleCnt="1"/>
      <dgm:spPr>
        <a:noFill/>
        <a:ln>
          <a:noFill/>
        </a:ln>
      </dgm:spPr>
    </dgm:pt>
    <dgm:pt modelId="{54B85F0A-918D-4C00-A698-11D3D858B853}" type="pres">
      <dgm:prSet presAssocID="{857F0A25-AAA0-4B5D-8135-0848D29AD5EE}" presName="textBox1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C51451-E9AF-48FA-A030-AED2EB1610D1}" srcId="{5776D148-4453-4DD8-A270-633E0380B448}" destId="{857F0A25-AAA0-4B5D-8135-0848D29AD5EE}" srcOrd="0" destOrd="0" parTransId="{897C0D08-84D6-42BE-BFA2-D1F7A2EA4AE3}" sibTransId="{2ACCB2FC-FB93-4707-80C9-C3CA19776D7F}"/>
    <dgm:cxn modelId="{84204E98-E58E-4DE2-9B07-9327C9A79FE3}" type="presOf" srcId="{857F0A25-AAA0-4B5D-8135-0848D29AD5EE}" destId="{54B85F0A-918D-4C00-A698-11D3D858B853}" srcOrd="0" destOrd="0" presId="urn:microsoft.com/office/officeart/2005/8/layout/arrow2"/>
    <dgm:cxn modelId="{EE1FAB5A-C562-4BE2-82A3-A61A1F922E41}" type="presOf" srcId="{5776D148-4453-4DD8-A270-633E0380B448}" destId="{578D0FB9-917F-4CC0-A007-411F3F96C931}" srcOrd="0" destOrd="0" presId="urn:microsoft.com/office/officeart/2005/8/layout/arrow2"/>
    <dgm:cxn modelId="{620C2DEC-5A47-4946-9A0C-CC6E7A2329A2}" type="presParOf" srcId="{578D0FB9-917F-4CC0-A007-411F3F96C931}" destId="{17DDBB05-BDFA-4DB2-9F0B-29D3F0C8C000}" srcOrd="0" destOrd="0" presId="urn:microsoft.com/office/officeart/2005/8/layout/arrow2"/>
    <dgm:cxn modelId="{FFA02AEA-4771-474C-A62E-1DC4F2A4E53D}" type="presParOf" srcId="{578D0FB9-917F-4CC0-A007-411F3F96C931}" destId="{1C059362-5D9B-49BF-89FE-8A9A0EDE4BE1}" srcOrd="1" destOrd="0" presId="urn:microsoft.com/office/officeart/2005/8/layout/arrow2"/>
    <dgm:cxn modelId="{F7441054-D4AF-4A8D-8047-A2D5C2DB04D5}" type="presParOf" srcId="{1C059362-5D9B-49BF-89FE-8A9A0EDE4BE1}" destId="{CD544C81-75E2-44D8-96FA-A6C08A2F6D90}" srcOrd="0" destOrd="0" presId="urn:microsoft.com/office/officeart/2005/8/layout/arrow2"/>
    <dgm:cxn modelId="{F97C6AA2-2BDC-49FB-BF85-DCEDE1BF16EE}" type="presParOf" srcId="{1C059362-5D9B-49BF-89FE-8A9A0EDE4BE1}" destId="{54B85F0A-918D-4C00-A698-11D3D858B853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>
        <a:noFill/>
        <a:ln>
          <a:noFill/>
        </a:ln>
      </dgm:spPr>
      <dgm:t>
        <a:bodyPr/>
        <a:lstStyle/>
        <a:p>
          <a:endParaRPr lang="en-US" sz="2200">
            <a:latin typeface="+mj-lt"/>
          </a:endParaRPr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endParaRPr lang="en-US" sz="2200">
            <a:latin typeface="+mj-lt"/>
          </a:endParaRPr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>
        <a:noFill/>
        <a:ln>
          <a:noFill/>
        </a:ln>
      </dgm:spPr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57739A-6E88-4709-89CC-6865AD1A7CC6}" type="presOf" srcId="{DD27FBE4-CAA4-4B5F-A331-0ABCCCB19B35}" destId="{131B3ADB-5427-4272-8FC7-1A46B9B3C0B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AC41FC1A-8668-4EF9-A3BF-F5E0CC4744C8}" type="presOf" srcId="{656458C8-620E-424F-BA29-3C94D87C1C12}" destId="{B85C2168-F842-498E-8ECB-28AF220805F6}" srcOrd="0" destOrd="0" presId="urn:microsoft.com/office/officeart/2005/8/layout/arrow2"/>
    <dgm:cxn modelId="{163AB110-3415-4790-B077-E946BA98D96E}" type="presOf" srcId="{857F0A25-AAA0-4B5D-8135-0848D29AD5EE}" destId="{7C0862F5-C9D0-460F-845D-EC41C6605AFF}" srcOrd="0" destOrd="0" presId="urn:microsoft.com/office/officeart/2005/8/layout/arrow2"/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9EA7256A-382C-4875-83FA-E08012E57100}" type="presOf" srcId="{EA4ED52C-0B07-471E-BDA5-3DB1AD3F1A2E}" destId="{241DE455-84EC-443A-B076-FFA35B22B34D}" srcOrd="0" destOrd="0" presId="urn:microsoft.com/office/officeart/2005/8/layout/arrow2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DCEE9AE2-7265-41C9-A57F-95E260833405}" type="presOf" srcId="{E25A1D40-A993-4CB8-B5DB-FBEC30ECD49A}" destId="{04BCD35D-9176-4EA2-8C64-FD088386FDEF}" srcOrd="0" destOrd="0" presId="urn:microsoft.com/office/officeart/2005/8/layout/arrow2"/>
    <dgm:cxn modelId="{A635D516-09AA-4582-A856-A07BF784F37C}" type="presOf" srcId="{5776D148-4453-4DD8-A270-633E0380B448}" destId="{578D0FB9-917F-4CC0-A007-411F3F96C931}" srcOrd="0" destOrd="0" presId="urn:microsoft.com/office/officeart/2005/8/layout/arrow2"/>
    <dgm:cxn modelId="{2211B91A-F1D8-4783-84A4-EE404A5B9461}" type="presParOf" srcId="{578D0FB9-917F-4CC0-A007-411F3F96C931}" destId="{17DDBB05-BDFA-4DB2-9F0B-29D3F0C8C000}" srcOrd="0" destOrd="0" presId="urn:microsoft.com/office/officeart/2005/8/layout/arrow2"/>
    <dgm:cxn modelId="{E86D1AE7-1D4F-4189-AE0E-FA183A78FF4A}" type="presParOf" srcId="{578D0FB9-917F-4CC0-A007-411F3F96C931}" destId="{42B39A96-0046-4A1F-8CBE-6AA1D1EF569B}" srcOrd="1" destOrd="0" presId="urn:microsoft.com/office/officeart/2005/8/layout/arrow2"/>
    <dgm:cxn modelId="{EA806E57-2641-408D-A95B-FCF8748B15FF}" type="presParOf" srcId="{42B39A96-0046-4A1F-8CBE-6AA1D1EF569B}" destId="{4D32A8BA-C528-4154-98C2-0C689BA1A28E}" srcOrd="0" destOrd="0" presId="urn:microsoft.com/office/officeart/2005/8/layout/arrow2"/>
    <dgm:cxn modelId="{00200F78-5724-4D3C-9602-5EC60C8D7E27}" type="presParOf" srcId="{42B39A96-0046-4A1F-8CBE-6AA1D1EF569B}" destId="{131B3ADB-5427-4272-8FC7-1A46B9B3C0B1}" srcOrd="1" destOrd="0" presId="urn:microsoft.com/office/officeart/2005/8/layout/arrow2"/>
    <dgm:cxn modelId="{30622B80-604D-47AD-BD9B-9F3F0F3C0424}" type="presParOf" srcId="{42B39A96-0046-4A1F-8CBE-6AA1D1EF569B}" destId="{0FD5FEF3-1EF9-401D-ABE6-F788D845AF40}" srcOrd="2" destOrd="0" presId="urn:microsoft.com/office/officeart/2005/8/layout/arrow2"/>
    <dgm:cxn modelId="{6C07D746-CEFC-4189-9BAE-813E2F50226A}" type="presParOf" srcId="{42B39A96-0046-4A1F-8CBE-6AA1D1EF569B}" destId="{241DE455-84EC-443A-B076-FFA35B22B34D}" srcOrd="3" destOrd="0" presId="urn:microsoft.com/office/officeart/2005/8/layout/arrow2"/>
    <dgm:cxn modelId="{91584170-C71A-4CEB-8533-38B20BB306AD}" type="presParOf" srcId="{42B39A96-0046-4A1F-8CBE-6AA1D1EF569B}" destId="{CFF15FAC-5719-4C10-A1A3-E1C25AF45E8F}" srcOrd="4" destOrd="0" presId="urn:microsoft.com/office/officeart/2005/8/layout/arrow2"/>
    <dgm:cxn modelId="{E926C455-0BF1-4C73-8315-98122C4ACC7E}" type="presParOf" srcId="{42B39A96-0046-4A1F-8CBE-6AA1D1EF569B}" destId="{04BCD35D-9176-4EA2-8C64-FD088386FDEF}" srcOrd="5" destOrd="0" presId="urn:microsoft.com/office/officeart/2005/8/layout/arrow2"/>
    <dgm:cxn modelId="{7B66B02F-E3A5-40B3-B03A-4731BFBCD5AA}" type="presParOf" srcId="{42B39A96-0046-4A1F-8CBE-6AA1D1EF569B}" destId="{BD6B94A6-E378-4D7E-97EF-20FE2AD6F1D5}" srcOrd="6" destOrd="0" presId="urn:microsoft.com/office/officeart/2005/8/layout/arrow2"/>
    <dgm:cxn modelId="{42EF1558-E744-4617-A56C-05CB363B690F}" type="presParOf" srcId="{42B39A96-0046-4A1F-8CBE-6AA1D1EF569B}" destId="{B85C2168-F842-498E-8ECB-28AF220805F6}" srcOrd="7" destOrd="0" presId="urn:microsoft.com/office/officeart/2005/8/layout/arrow2"/>
    <dgm:cxn modelId="{D9DAB3CC-CFC7-4749-9603-204C44DCC291}" type="presParOf" srcId="{42B39A96-0046-4A1F-8CBE-6AA1D1EF569B}" destId="{8480E726-5250-4A51-84BD-99A36C5B00B3}" srcOrd="8" destOrd="0" presId="urn:microsoft.com/office/officeart/2005/8/layout/arrow2"/>
    <dgm:cxn modelId="{C1CA70CC-8D3C-4F39-8720-7070AFBC83B9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A0CE210E-0537-4F03-B024-7ACDBC867725}" type="presOf" srcId="{656458C8-620E-424F-BA29-3C94D87C1C12}" destId="{B85C2168-F842-498E-8ECB-28AF220805F6}" srcOrd="0" destOrd="0" presId="urn:microsoft.com/office/officeart/2005/8/layout/arrow2"/>
    <dgm:cxn modelId="{E8E0B429-EF80-4DEC-AE6E-2552503715DE}" type="presOf" srcId="{E25A1D40-A993-4CB8-B5DB-FBEC30ECD49A}" destId="{04BCD35D-9176-4EA2-8C64-FD088386FDEF}" srcOrd="0" destOrd="0" presId="urn:microsoft.com/office/officeart/2005/8/layout/arrow2"/>
    <dgm:cxn modelId="{D053EE6A-EB1A-4833-8DBA-BD8D50E0AFD8}" type="presOf" srcId="{857F0A25-AAA0-4B5D-8135-0848D29AD5EE}" destId="{7C0862F5-C9D0-460F-845D-EC41C6605AFF}" srcOrd="0" destOrd="0" presId="urn:microsoft.com/office/officeart/2005/8/layout/arrow2"/>
    <dgm:cxn modelId="{3E0FCC04-0C11-4993-9834-FA3F38F1318A}" type="presOf" srcId="{EA4ED52C-0B07-471E-BDA5-3DB1AD3F1A2E}" destId="{241DE455-84EC-443A-B076-FFA35B22B34D}" srcOrd="0" destOrd="0" presId="urn:microsoft.com/office/officeart/2005/8/layout/arrow2"/>
    <dgm:cxn modelId="{0930C6AB-61A5-49E4-89AB-1DBB4C8AAF26}" type="presOf" srcId="{DD27FBE4-CAA4-4B5F-A331-0ABCCCB19B35}" destId="{131B3ADB-5427-4272-8FC7-1A46B9B3C0B1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18492A12-892F-4348-8BAE-8EFB94581C1B}" type="presOf" srcId="{5776D148-4453-4DD8-A270-633E0380B448}" destId="{578D0FB9-917F-4CC0-A007-411F3F96C93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F3ADCCB9-D90E-475C-9561-A25D7793B237}" type="presParOf" srcId="{578D0FB9-917F-4CC0-A007-411F3F96C931}" destId="{17DDBB05-BDFA-4DB2-9F0B-29D3F0C8C000}" srcOrd="0" destOrd="0" presId="urn:microsoft.com/office/officeart/2005/8/layout/arrow2"/>
    <dgm:cxn modelId="{DCAD42AA-E925-4BA5-B188-5350E280A2C0}" type="presParOf" srcId="{578D0FB9-917F-4CC0-A007-411F3F96C931}" destId="{42B39A96-0046-4A1F-8CBE-6AA1D1EF569B}" srcOrd="1" destOrd="0" presId="urn:microsoft.com/office/officeart/2005/8/layout/arrow2"/>
    <dgm:cxn modelId="{7CF7DD1B-FA03-4E76-899C-76CD92C1982A}" type="presParOf" srcId="{42B39A96-0046-4A1F-8CBE-6AA1D1EF569B}" destId="{4D32A8BA-C528-4154-98C2-0C689BA1A28E}" srcOrd="0" destOrd="0" presId="urn:microsoft.com/office/officeart/2005/8/layout/arrow2"/>
    <dgm:cxn modelId="{1C0B45C7-890F-4B76-912A-3490AA33D2A9}" type="presParOf" srcId="{42B39A96-0046-4A1F-8CBE-6AA1D1EF569B}" destId="{131B3ADB-5427-4272-8FC7-1A46B9B3C0B1}" srcOrd="1" destOrd="0" presId="urn:microsoft.com/office/officeart/2005/8/layout/arrow2"/>
    <dgm:cxn modelId="{BA175CB4-D18F-419A-B174-8956CB595990}" type="presParOf" srcId="{42B39A96-0046-4A1F-8CBE-6AA1D1EF569B}" destId="{0FD5FEF3-1EF9-401D-ABE6-F788D845AF40}" srcOrd="2" destOrd="0" presId="urn:microsoft.com/office/officeart/2005/8/layout/arrow2"/>
    <dgm:cxn modelId="{E3D896C1-9865-42A6-9BEE-DB656C9E27C6}" type="presParOf" srcId="{42B39A96-0046-4A1F-8CBE-6AA1D1EF569B}" destId="{241DE455-84EC-443A-B076-FFA35B22B34D}" srcOrd="3" destOrd="0" presId="urn:microsoft.com/office/officeart/2005/8/layout/arrow2"/>
    <dgm:cxn modelId="{0425B06F-6CEF-4FB5-AB3F-A6F999AEAF27}" type="presParOf" srcId="{42B39A96-0046-4A1F-8CBE-6AA1D1EF569B}" destId="{CFF15FAC-5719-4C10-A1A3-E1C25AF45E8F}" srcOrd="4" destOrd="0" presId="urn:microsoft.com/office/officeart/2005/8/layout/arrow2"/>
    <dgm:cxn modelId="{9E70DCD8-B234-45F6-A0C5-9218265C4762}" type="presParOf" srcId="{42B39A96-0046-4A1F-8CBE-6AA1D1EF569B}" destId="{04BCD35D-9176-4EA2-8C64-FD088386FDEF}" srcOrd="5" destOrd="0" presId="urn:microsoft.com/office/officeart/2005/8/layout/arrow2"/>
    <dgm:cxn modelId="{1C601615-60F9-4DA2-AD2E-0B9E2A5A449D}" type="presParOf" srcId="{42B39A96-0046-4A1F-8CBE-6AA1D1EF569B}" destId="{BD6B94A6-E378-4D7E-97EF-20FE2AD6F1D5}" srcOrd="6" destOrd="0" presId="urn:microsoft.com/office/officeart/2005/8/layout/arrow2"/>
    <dgm:cxn modelId="{51EC1E85-814F-4B12-B88B-1C748D73A60E}" type="presParOf" srcId="{42B39A96-0046-4A1F-8CBE-6AA1D1EF569B}" destId="{B85C2168-F842-498E-8ECB-28AF220805F6}" srcOrd="7" destOrd="0" presId="urn:microsoft.com/office/officeart/2005/8/layout/arrow2"/>
    <dgm:cxn modelId="{69371FD8-E699-49F9-B353-9BE208465ADA}" type="presParOf" srcId="{42B39A96-0046-4A1F-8CBE-6AA1D1EF569B}" destId="{8480E726-5250-4A51-84BD-99A36C5B00B3}" srcOrd="8" destOrd="0" presId="urn:microsoft.com/office/officeart/2005/8/layout/arrow2"/>
    <dgm:cxn modelId="{1AF77CE5-1D28-4F8E-A8E4-FD4E1A8B2592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>
        <a:noFill/>
        <a:ln>
          <a:noFill/>
        </a:ln>
      </dgm:spPr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48572764-9786-438A-9F5F-939099B5CD16}" type="presOf" srcId="{5776D148-4453-4DD8-A270-633E0380B448}" destId="{578D0FB9-917F-4CC0-A007-411F3F96C931}" srcOrd="0" destOrd="0" presId="urn:microsoft.com/office/officeart/2005/8/layout/arrow2"/>
    <dgm:cxn modelId="{35ECB49C-7848-4BD5-BAE0-72BD28B66C58}" type="presOf" srcId="{DD27FBE4-CAA4-4B5F-A331-0ABCCCB19B35}" destId="{131B3ADB-5427-4272-8FC7-1A46B9B3C0B1}" srcOrd="0" destOrd="0" presId="urn:microsoft.com/office/officeart/2005/8/layout/arrow2"/>
    <dgm:cxn modelId="{3A0F712C-9E69-4CB5-BB9B-4700BE7D18DF}" type="presOf" srcId="{E25A1D40-A993-4CB8-B5DB-FBEC30ECD49A}" destId="{04BCD35D-9176-4EA2-8C64-FD088386FDEF}" srcOrd="0" destOrd="0" presId="urn:microsoft.com/office/officeart/2005/8/layout/arrow2"/>
    <dgm:cxn modelId="{3C322DD9-7C58-4E05-AC47-6AEE32122767}" type="presOf" srcId="{656458C8-620E-424F-BA29-3C94D87C1C12}" destId="{B85C2168-F842-498E-8ECB-28AF220805F6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ECB6067E-F2F6-433D-A064-B3167A9B2B7D}" type="presOf" srcId="{EA4ED52C-0B07-471E-BDA5-3DB1AD3F1A2E}" destId="{241DE455-84EC-443A-B076-FFA35B22B34D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D5004E59-C2D2-4C06-A53C-F3948C9DAE50}" type="presOf" srcId="{857F0A25-AAA0-4B5D-8135-0848D29AD5EE}" destId="{7C0862F5-C9D0-460F-845D-EC41C6605AFF}" srcOrd="0" destOrd="0" presId="urn:microsoft.com/office/officeart/2005/8/layout/arrow2"/>
    <dgm:cxn modelId="{0CED6E9F-A3B9-4FED-8728-A254BB0623DF}" type="presParOf" srcId="{578D0FB9-917F-4CC0-A007-411F3F96C931}" destId="{17DDBB05-BDFA-4DB2-9F0B-29D3F0C8C000}" srcOrd="0" destOrd="0" presId="urn:microsoft.com/office/officeart/2005/8/layout/arrow2"/>
    <dgm:cxn modelId="{C1C0CFCE-9BFA-4476-9FC5-27202BBA3779}" type="presParOf" srcId="{578D0FB9-917F-4CC0-A007-411F3F96C931}" destId="{42B39A96-0046-4A1F-8CBE-6AA1D1EF569B}" srcOrd="1" destOrd="0" presId="urn:microsoft.com/office/officeart/2005/8/layout/arrow2"/>
    <dgm:cxn modelId="{0A0FC500-6A5E-4F28-B93C-EF4AD149AD0F}" type="presParOf" srcId="{42B39A96-0046-4A1F-8CBE-6AA1D1EF569B}" destId="{4D32A8BA-C528-4154-98C2-0C689BA1A28E}" srcOrd="0" destOrd="0" presId="urn:microsoft.com/office/officeart/2005/8/layout/arrow2"/>
    <dgm:cxn modelId="{E527180A-7D0E-4DA0-ABB9-BE324F79FC84}" type="presParOf" srcId="{42B39A96-0046-4A1F-8CBE-6AA1D1EF569B}" destId="{131B3ADB-5427-4272-8FC7-1A46B9B3C0B1}" srcOrd="1" destOrd="0" presId="urn:microsoft.com/office/officeart/2005/8/layout/arrow2"/>
    <dgm:cxn modelId="{B0C36C6D-8CA3-454F-9CE8-5CD5B42D5557}" type="presParOf" srcId="{42B39A96-0046-4A1F-8CBE-6AA1D1EF569B}" destId="{0FD5FEF3-1EF9-401D-ABE6-F788D845AF40}" srcOrd="2" destOrd="0" presId="urn:microsoft.com/office/officeart/2005/8/layout/arrow2"/>
    <dgm:cxn modelId="{80C8A8BF-92C5-45A3-9138-5EE49EC238C1}" type="presParOf" srcId="{42B39A96-0046-4A1F-8CBE-6AA1D1EF569B}" destId="{241DE455-84EC-443A-B076-FFA35B22B34D}" srcOrd="3" destOrd="0" presId="urn:microsoft.com/office/officeart/2005/8/layout/arrow2"/>
    <dgm:cxn modelId="{B6EB3CCA-9CA6-44FC-A3B0-38402A365E2B}" type="presParOf" srcId="{42B39A96-0046-4A1F-8CBE-6AA1D1EF569B}" destId="{CFF15FAC-5719-4C10-A1A3-E1C25AF45E8F}" srcOrd="4" destOrd="0" presId="urn:microsoft.com/office/officeart/2005/8/layout/arrow2"/>
    <dgm:cxn modelId="{1EA9E7BB-37F4-451F-822F-23BC752D8067}" type="presParOf" srcId="{42B39A96-0046-4A1F-8CBE-6AA1D1EF569B}" destId="{04BCD35D-9176-4EA2-8C64-FD088386FDEF}" srcOrd="5" destOrd="0" presId="urn:microsoft.com/office/officeart/2005/8/layout/arrow2"/>
    <dgm:cxn modelId="{2C728B49-A59E-4E96-9C8F-802262795817}" type="presParOf" srcId="{42B39A96-0046-4A1F-8CBE-6AA1D1EF569B}" destId="{BD6B94A6-E378-4D7E-97EF-20FE2AD6F1D5}" srcOrd="6" destOrd="0" presId="urn:microsoft.com/office/officeart/2005/8/layout/arrow2"/>
    <dgm:cxn modelId="{F73D9EB0-CF9B-4B7B-9FA4-F6ED82929F64}" type="presParOf" srcId="{42B39A96-0046-4A1F-8CBE-6AA1D1EF569B}" destId="{B85C2168-F842-498E-8ECB-28AF220805F6}" srcOrd="7" destOrd="0" presId="urn:microsoft.com/office/officeart/2005/8/layout/arrow2"/>
    <dgm:cxn modelId="{ADC1A185-BE84-4D06-B48A-B7547BB576A1}" type="presParOf" srcId="{42B39A96-0046-4A1F-8CBE-6AA1D1EF569B}" destId="{8480E726-5250-4A51-84BD-99A36C5B00B3}" srcOrd="8" destOrd="0" presId="urn:microsoft.com/office/officeart/2005/8/layout/arrow2"/>
    <dgm:cxn modelId="{290EFDE0-DA49-46D0-BE80-BDA4B2D56115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Mature</a:t>
          </a:r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/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>
        <a:noFill/>
        <a:ln>
          <a:noFill/>
        </a:ln>
      </dgm:spPr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242143A-AB8F-49F0-A19E-7000E5F79649}" type="presOf" srcId="{5776D148-4453-4DD8-A270-633E0380B448}" destId="{578D0FB9-917F-4CC0-A007-411F3F96C931}" srcOrd="0" destOrd="0" presId="urn:microsoft.com/office/officeart/2005/8/layout/arrow2"/>
    <dgm:cxn modelId="{66B77DA1-1CFF-4AF2-B31A-D0E6D85556F5}" type="presOf" srcId="{857F0A25-AAA0-4B5D-8135-0848D29AD5EE}" destId="{7C0862F5-C9D0-460F-845D-EC41C6605AFF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E74A4889-0405-4BCF-9963-629758BDF599}" type="presOf" srcId="{DD27FBE4-CAA4-4B5F-A331-0ABCCCB19B35}" destId="{131B3ADB-5427-4272-8FC7-1A46B9B3C0B1}" srcOrd="0" destOrd="0" presId="urn:microsoft.com/office/officeart/2005/8/layout/arrow2"/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D7AC52AF-2509-48CB-988B-D0F27D40FA8A}" type="presOf" srcId="{EA4ED52C-0B07-471E-BDA5-3DB1AD3F1A2E}" destId="{241DE455-84EC-443A-B076-FFA35B22B34D}" srcOrd="0" destOrd="0" presId="urn:microsoft.com/office/officeart/2005/8/layout/arrow2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28AF2A2C-B28C-4064-82E2-B0B54A113A59}" type="presOf" srcId="{E25A1D40-A993-4CB8-B5DB-FBEC30ECD49A}" destId="{04BCD35D-9176-4EA2-8C64-FD088386FDEF}" srcOrd="0" destOrd="0" presId="urn:microsoft.com/office/officeart/2005/8/layout/arrow2"/>
    <dgm:cxn modelId="{A6301EB2-0625-447D-9CC0-26CCFDF03D0F}" type="presOf" srcId="{656458C8-620E-424F-BA29-3C94D87C1C12}" destId="{B85C2168-F842-498E-8ECB-28AF220805F6}" srcOrd="0" destOrd="0" presId="urn:microsoft.com/office/officeart/2005/8/layout/arrow2"/>
    <dgm:cxn modelId="{5FE6ED9A-9BAD-4659-914B-97242C4B676B}" type="presParOf" srcId="{578D0FB9-917F-4CC0-A007-411F3F96C931}" destId="{17DDBB05-BDFA-4DB2-9F0B-29D3F0C8C000}" srcOrd="0" destOrd="0" presId="urn:microsoft.com/office/officeart/2005/8/layout/arrow2"/>
    <dgm:cxn modelId="{90EFB696-7BDF-4894-B7A5-D645DCCA4605}" type="presParOf" srcId="{578D0FB9-917F-4CC0-A007-411F3F96C931}" destId="{42B39A96-0046-4A1F-8CBE-6AA1D1EF569B}" srcOrd="1" destOrd="0" presId="urn:microsoft.com/office/officeart/2005/8/layout/arrow2"/>
    <dgm:cxn modelId="{86A7D9EB-7AA6-412A-83A8-41D622544CBC}" type="presParOf" srcId="{42B39A96-0046-4A1F-8CBE-6AA1D1EF569B}" destId="{4D32A8BA-C528-4154-98C2-0C689BA1A28E}" srcOrd="0" destOrd="0" presId="urn:microsoft.com/office/officeart/2005/8/layout/arrow2"/>
    <dgm:cxn modelId="{324B6F38-6FC7-43C8-9183-8796FDF2F82F}" type="presParOf" srcId="{42B39A96-0046-4A1F-8CBE-6AA1D1EF569B}" destId="{131B3ADB-5427-4272-8FC7-1A46B9B3C0B1}" srcOrd="1" destOrd="0" presId="urn:microsoft.com/office/officeart/2005/8/layout/arrow2"/>
    <dgm:cxn modelId="{768042E5-3B3D-447B-A309-5DF7245ED76F}" type="presParOf" srcId="{42B39A96-0046-4A1F-8CBE-6AA1D1EF569B}" destId="{0FD5FEF3-1EF9-401D-ABE6-F788D845AF40}" srcOrd="2" destOrd="0" presId="urn:microsoft.com/office/officeart/2005/8/layout/arrow2"/>
    <dgm:cxn modelId="{96D8C8B1-D9DA-4771-BEA8-1DBEB0900661}" type="presParOf" srcId="{42B39A96-0046-4A1F-8CBE-6AA1D1EF569B}" destId="{241DE455-84EC-443A-B076-FFA35B22B34D}" srcOrd="3" destOrd="0" presId="urn:microsoft.com/office/officeart/2005/8/layout/arrow2"/>
    <dgm:cxn modelId="{778FCA9B-D5EF-49EF-9785-17C0BDE3AB41}" type="presParOf" srcId="{42B39A96-0046-4A1F-8CBE-6AA1D1EF569B}" destId="{CFF15FAC-5719-4C10-A1A3-E1C25AF45E8F}" srcOrd="4" destOrd="0" presId="urn:microsoft.com/office/officeart/2005/8/layout/arrow2"/>
    <dgm:cxn modelId="{62B2F8AA-E1DD-44C8-AF18-399BA8C80456}" type="presParOf" srcId="{42B39A96-0046-4A1F-8CBE-6AA1D1EF569B}" destId="{04BCD35D-9176-4EA2-8C64-FD088386FDEF}" srcOrd="5" destOrd="0" presId="urn:microsoft.com/office/officeart/2005/8/layout/arrow2"/>
    <dgm:cxn modelId="{D5EC30CF-AEB1-4F8E-A721-3F7670260C1B}" type="presParOf" srcId="{42B39A96-0046-4A1F-8CBE-6AA1D1EF569B}" destId="{BD6B94A6-E378-4D7E-97EF-20FE2AD6F1D5}" srcOrd="6" destOrd="0" presId="urn:microsoft.com/office/officeart/2005/8/layout/arrow2"/>
    <dgm:cxn modelId="{D6125499-D2B8-4B9B-B889-9A63CFDC195B}" type="presParOf" srcId="{42B39A96-0046-4A1F-8CBE-6AA1D1EF569B}" destId="{B85C2168-F842-498E-8ECB-28AF220805F6}" srcOrd="7" destOrd="0" presId="urn:microsoft.com/office/officeart/2005/8/layout/arrow2"/>
    <dgm:cxn modelId="{6BA10DB8-8875-4007-A525-B5911B067914}" type="presParOf" srcId="{42B39A96-0046-4A1F-8CBE-6AA1D1EF569B}" destId="{8480E726-5250-4A51-84BD-99A36C5B00B3}" srcOrd="8" destOrd="0" presId="urn:microsoft.com/office/officeart/2005/8/layout/arrow2"/>
    <dgm:cxn modelId="{46F0E9B4-1622-499A-90B8-94407E7D7090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776D148-4453-4DD8-A270-633E0380B448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DD27FBE4-CAA4-4B5F-A331-0ABCCCB19B35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Initial</a:t>
          </a:r>
          <a:endParaRPr lang="en-US" sz="2200">
            <a:latin typeface="+mj-lt"/>
          </a:endParaRPr>
        </a:p>
      </dgm:t>
    </dgm:pt>
    <dgm:pt modelId="{AB49AF70-D39B-4B59-85B5-D63C6A2F7771}" type="parTrans" cxnId="{EE4F7F1C-C0DD-451A-83D3-F3995C05FE4F}">
      <dgm:prSet/>
      <dgm:spPr/>
      <dgm:t>
        <a:bodyPr/>
        <a:lstStyle/>
        <a:p>
          <a:endParaRPr lang="en-US"/>
        </a:p>
      </dgm:t>
    </dgm:pt>
    <dgm:pt modelId="{55FA0694-7179-447B-98EC-FE2344BFB7CB}" type="sibTrans" cxnId="{EE4F7F1C-C0DD-451A-83D3-F3995C05FE4F}">
      <dgm:prSet/>
      <dgm:spPr/>
      <dgm:t>
        <a:bodyPr/>
        <a:lstStyle/>
        <a:p>
          <a:endParaRPr lang="en-US"/>
        </a:p>
      </dgm:t>
    </dgm:pt>
    <dgm:pt modelId="{EA4ED52C-0B07-471E-BDA5-3DB1AD3F1A2E}">
      <dgm:prSet phldrT="[Text]" custT="1"/>
      <dgm:spPr/>
      <dgm:t>
        <a:bodyPr/>
        <a:lstStyle/>
        <a:p>
          <a:pPr algn="l"/>
          <a:r>
            <a:rPr lang="hu-HU" sz="2200" smtClean="0">
              <a:latin typeface="+mj-lt"/>
            </a:rPr>
            <a:t>Established</a:t>
          </a:r>
          <a:endParaRPr lang="en-US" sz="2200">
            <a:latin typeface="+mj-lt"/>
          </a:endParaRPr>
        </a:p>
      </dgm:t>
    </dgm:pt>
    <dgm:pt modelId="{4080C5D4-17BF-4B8B-B65E-257712E45C40}" type="parTrans" cxnId="{8932C705-8ADF-485A-A72A-691889D41B31}">
      <dgm:prSet/>
      <dgm:spPr/>
      <dgm:t>
        <a:bodyPr/>
        <a:lstStyle/>
        <a:p>
          <a:endParaRPr lang="en-US"/>
        </a:p>
      </dgm:t>
    </dgm:pt>
    <dgm:pt modelId="{76327A14-83D8-4681-8DFD-554437A2C4C5}" type="sibTrans" cxnId="{8932C705-8ADF-485A-A72A-691889D41B31}">
      <dgm:prSet/>
      <dgm:spPr/>
      <dgm:t>
        <a:bodyPr/>
        <a:lstStyle/>
        <a:p>
          <a:endParaRPr lang="en-US"/>
        </a:p>
      </dgm:t>
    </dgm:pt>
    <dgm:pt modelId="{E25A1D40-A993-4CB8-B5DB-FBEC30ECD49A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Grown up</a:t>
          </a:r>
          <a:endParaRPr lang="en-US" sz="2200">
            <a:latin typeface="+mj-lt"/>
          </a:endParaRPr>
        </a:p>
      </dgm:t>
    </dgm:pt>
    <dgm:pt modelId="{896F440D-B2C5-41B4-B8F5-72EBB34F829B}" type="parTrans" cxnId="{F2C40DDA-F34D-4921-9371-20143427D627}">
      <dgm:prSet/>
      <dgm:spPr/>
      <dgm:t>
        <a:bodyPr/>
        <a:lstStyle/>
        <a:p>
          <a:endParaRPr lang="en-US"/>
        </a:p>
      </dgm:t>
    </dgm:pt>
    <dgm:pt modelId="{BA7F0204-9B2C-4CEB-9EBF-9218B8A581FA}" type="sibTrans" cxnId="{F2C40DDA-F34D-4921-9371-20143427D627}">
      <dgm:prSet/>
      <dgm:spPr/>
      <dgm:t>
        <a:bodyPr/>
        <a:lstStyle/>
        <a:p>
          <a:endParaRPr lang="en-US"/>
        </a:p>
      </dgm:t>
    </dgm:pt>
    <dgm:pt modelId="{656458C8-620E-424F-BA29-3C94D87C1C12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Mature</a:t>
          </a:r>
          <a:endParaRPr lang="en-US" sz="2200">
            <a:latin typeface="+mj-lt"/>
          </a:endParaRPr>
        </a:p>
      </dgm:t>
    </dgm:pt>
    <dgm:pt modelId="{51AF9843-571F-4031-BEC0-B13401A446CB}" type="parTrans" cxnId="{D8F6A875-0A92-43CD-9B8E-E593B26131CA}">
      <dgm:prSet/>
      <dgm:spPr/>
      <dgm:t>
        <a:bodyPr/>
        <a:lstStyle/>
        <a:p>
          <a:endParaRPr lang="en-US"/>
        </a:p>
      </dgm:t>
    </dgm:pt>
    <dgm:pt modelId="{FAA30222-A6AF-4594-8D6A-53A9762C43F5}" type="sibTrans" cxnId="{D8F6A875-0A92-43CD-9B8E-E593B26131CA}">
      <dgm:prSet/>
      <dgm:spPr/>
      <dgm:t>
        <a:bodyPr/>
        <a:lstStyle/>
        <a:p>
          <a:endParaRPr lang="en-US"/>
        </a:p>
      </dgm:t>
    </dgm:pt>
    <dgm:pt modelId="{857F0A25-AAA0-4B5D-8135-0848D29AD5EE}">
      <dgm:prSet phldrT="[Text]" custT="1"/>
      <dgm:spPr/>
      <dgm:t>
        <a:bodyPr/>
        <a:lstStyle/>
        <a:p>
          <a:r>
            <a:rPr lang="hu-HU" sz="2200" smtClean="0">
              <a:latin typeface="+mj-lt"/>
            </a:rPr>
            <a:t>Best in class</a:t>
          </a:r>
          <a:endParaRPr lang="en-US" sz="2200">
            <a:latin typeface="+mj-lt"/>
          </a:endParaRPr>
        </a:p>
      </dgm:t>
    </dgm:pt>
    <dgm:pt modelId="{897C0D08-84D6-42BE-BFA2-D1F7A2EA4AE3}" type="parTrans" cxnId="{52C51451-E9AF-48FA-A030-AED2EB1610D1}">
      <dgm:prSet/>
      <dgm:spPr/>
      <dgm:t>
        <a:bodyPr/>
        <a:lstStyle/>
        <a:p>
          <a:endParaRPr lang="en-US"/>
        </a:p>
      </dgm:t>
    </dgm:pt>
    <dgm:pt modelId="{2ACCB2FC-FB93-4707-80C9-C3CA19776D7F}" type="sibTrans" cxnId="{52C51451-E9AF-48FA-A030-AED2EB1610D1}">
      <dgm:prSet/>
      <dgm:spPr/>
      <dgm:t>
        <a:bodyPr/>
        <a:lstStyle/>
        <a:p>
          <a:endParaRPr lang="en-US"/>
        </a:p>
      </dgm:t>
    </dgm:pt>
    <dgm:pt modelId="{578D0FB9-917F-4CC0-A007-411F3F96C931}" type="pres">
      <dgm:prSet presAssocID="{5776D148-4453-4DD8-A270-633E0380B448}" presName="arrowDiagram" presStyleCnt="0">
        <dgm:presLayoutVars>
          <dgm:chMax val="5"/>
          <dgm:dir/>
          <dgm:resizeHandles val="exact"/>
        </dgm:presLayoutVars>
      </dgm:prSet>
      <dgm:spPr/>
    </dgm:pt>
    <dgm:pt modelId="{17DDBB05-BDFA-4DB2-9F0B-29D3F0C8C000}" type="pres">
      <dgm:prSet presAssocID="{5776D148-4453-4DD8-A270-633E0380B448}" presName="arrow" presStyleLbl="bgShp" presStyleIdx="0" presStyleCnt="1"/>
      <dgm:spPr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</dgm:spPr>
    </dgm:pt>
    <dgm:pt modelId="{42B39A96-0046-4A1F-8CBE-6AA1D1EF569B}" type="pres">
      <dgm:prSet presAssocID="{5776D148-4453-4DD8-A270-633E0380B448}" presName="arrowDiagram5" presStyleCnt="0"/>
      <dgm:spPr/>
    </dgm:pt>
    <dgm:pt modelId="{4D32A8BA-C528-4154-98C2-0C689BA1A28E}" type="pres">
      <dgm:prSet presAssocID="{DD27FBE4-CAA4-4B5F-A331-0ABCCCB19B35}" presName="bullet5a" presStyleLbl="node1" presStyleIdx="0" presStyleCnt="5"/>
      <dgm:spPr/>
      <dgm:t>
        <a:bodyPr/>
        <a:lstStyle/>
        <a:p>
          <a:endParaRPr lang="en-US"/>
        </a:p>
      </dgm:t>
    </dgm:pt>
    <dgm:pt modelId="{131B3ADB-5427-4272-8FC7-1A46B9B3C0B1}" type="pres">
      <dgm:prSet presAssocID="{DD27FBE4-CAA4-4B5F-A331-0ABCCCB19B35}" presName="textBox5a" presStyleLbl="revTx" presStyleIdx="0" presStyleCnt="5" custScaleX="134123" custScaleY="87580" custLinFactNeighborY="110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D5FEF3-1EF9-401D-ABE6-F788D845AF40}" type="pres">
      <dgm:prSet presAssocID="{EA4ED52C-0B07-471E-BDA5-3DB1AD3F1A2E}" presName="bullet5b" presStyleLbl="node1" presStyleIdx="1" presStyleCnt="5"/>
      <dgm:spPr/>
    </dgm:pt>
    <dgm:pt modelId="{241DE455-84EC-443A-B076-FFA35B22B34D}" type="pres">
      <dgm:prSet presAssocID="{EA4ED52C-0B07-471E-BDA5-3DB1AD3F1A2E}" presName="textBox5b" presStyleLbl="revTx" presStyleIdx="1" presStyleCnt="5" custScaleX="149837" custScaleY="84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F15FAC-5719-4C10-A1A3-E1C25AF45E8F}" type="pres">
      <dgm:prSet presAssocID="{E25A1D40-A993-4CB8-B5DB-FBEC30ECD49A}" presName="bullet5c" presStyleLbl="node1" presStyleIdx="2" presStyleCnt="5"/>
      <dgm:spPr/>
      <dgm:t>
        <a:bodyPr/>
        <a:lstStyle/>
        <a:p>
          <a:endParaRPr lang="en-US"/>
        </a:p>
      </dgm:t>
    </dgm:pt>
    <dgm:pt modelId="{04BCD35D-9176-4EA2-8C64-FD088386FDEF}" type="pres">
      <dgm:prSet presAssocID="{E25A1D40-A993-4CB8-B5DB-FBEC30ECD49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6B94A6-E378-4D7E-97EF-20FE2AD6F1D5}" type="pres">
      <dgm:prSet presAssocID="{656458C8-620E-424F-BA29-3C94D87C1C12}" presName="bullet5d" presStyleLbl="node1" presStyleIdx="3" presStyleCnt="5"/>
      <dgm:spPr/>
    </dgm:pt>
    <dgm:pt modelId="{B85C2168-F842-498E-8ECB-28AF220805F6}" type="pres">
      <dgm:prSet presAssocID="{656458C8-620E-424F-BA29-3C94D87C1C12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0E726-5250-4A51-84BD-99A36C5B00B3}" type="pres">
      <dgm:prSet presAssocID="{857F0A25-AAA0-4B5D-8135-0848D29AD5EE}" presName="bullet5e" presStyleLbl="node1" presStyleIdx="4" presStyleCnt="5"/>
      <dgm:spPr/>
    </dgm:pt>
    <dgm:pt modelId="{7C0862F5-C9D0-460F-845D-EC41C6605AFF}" type="pres">
      <dgm:prSet presAssocID="{857F0A25-AAA0-4B5D-8135-0848D29AD5EE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932C705-8ADF-485A-A72A-691889D41B31}" srcId="{5776D148-4453-4DD8-A270-633E0380B448}" destId="{EA4ED52C-0B07-471E-BDA5-3DB1AD3F1A2E}" srcOrd="1" destOrd="0" parTransId="{4080C5D4-17BF-4B8B-B65E-257712E45C40}" sibTransId="{76327A14-83D8-4681-8DFD-554437A2C4C5}"/>
    <dgm:cxn modelId="{52C51451-E9AF-48FA-A030-AED2EB1610D1}" srcId="{5776D148-4453-4DD8-A270-633E0380B448}" destId="{857F0A25-AAA0-4B5D-8135-0848D29AD5EE}" srcOrd="4" destOrd="0" parTransId="{897C0D08-84D6-42BE-BFA2-D1F7A2EA4AE3}" sibTransId="{2ACCB2FC-FB93-4707-80C9-C3CA19776D7F}"/>
    <dgm:cxn modelId="{56C472EA-B621-403E-AE82-E582C940C498}" type="presOf" srcId="{857F0A25-AAA0-4B5D-8135-0848D29AD5EE}" destId="{7C0862F5-C9D0-460F-845D-EC41C6605AFF}" srcOrd="0" destOrd="0" presId="urn:microsoft.com/office/officeart/2005/8/layout/arrow2"/>
    <dgm:cxn modelId="{9235A666-EFB3-4BB4-A208-7C1FB2872CB4}" type="presOf" srcId="{EA4ED52C-0B07-471E-BDA5-3DB1AD3F1A2E}" destId="{241DE455-84EC-443A-B076-FFA35B22B34D}" srcOrd="0" destOrd="0" presId="urn:microsoft.com/office/officeart/2005/8/layout/arrow2"/>
    <dgm:cxn modelId="{1D1E09C4-C814-41C9-8336-C809F919EB5D}" type="presOf" srcId="{DD27FBE4-CAA4-4B5F-A331-0ABCCCB19B35}" destId="{131B3ADB-5427-4272-8FC7-1A46B9B3C0B1}" srcOrd="0" destOrd="0" presId="urn:microsoft.com/office/officeart/2005/8/layout/arrow2"/>
    <dgm:cxn modelId="{D8F6A875-0A92-43CD-9B8E-E593B26131CA}" srcId="{5776D148-4453-4DD8-A270-633E0380B448}" destId="{656458C8-620E-424F-BA29-3C94D87C1C12}" srcOrd="3" destOrd="0" parTransId="{51AF9843-571F-4031-BEC0-B13401A446CB}" sibTransId="{FAA30222-A6AF-4594-8D6A-53A9762C43F5}"/>
    <dgm:cxn modelId="{F2C40DDA-F34D-4921-9371-20143427D627}" srcId="{5776D148-4453-4DD8-A270-633E0380B448}" destId="{E25A1D40-A993-4CB8-B5DB-FBEC30ECD49A}" srcOrd="2" destOrd="0" parTransId="{896F440D-B2C5-41B4-B8F5-72EBB34F829B}" sibTransId="{BA7F0204-9B2C-4CEB-9EBF-9218B8A581FA}"/>
    <dgm:cxn modelId="{A4D77C83-962F-4188-A177-6766B05F9A34}" type="presOf" srcId="{5776D148-4453-4DD8-A270-633E0380B448}" destId="{578D0FB9-917F-4CC0-A007-411F3F96C931}" srcOrd="0" destOrd="0" presId="urn:microsoft.com/office/officeart/2005/8/layout/arrow2"/>
    <dgm:cxn modelId="{EE4F7F1C-C0DD-451A-83D3-F3995C05FE4F}" srcId="{5776D148-4453-4DD8-A270-633E0380B448}" destId="{DD27FBE4-CAA4-4B5F-A331-0ABCCCB19B35}" srcOrd="0" destOrd="0" parTransId="{AB49AF70-D39B-4B59-85B5-D63C6A2F7771}" sibTransId="{55FA0694-7179-447B-98EC-FE2344BFB7CB}"/>
    <dgm:cxn modelId="{8A770198-C189-47F4-BC20-08715E5DC991}" type="presOf" srcId="{E25A1D40-A993-4CB8-B5DB-FBEC30ECD49A}" destId="{04BCD35D-9176-4EA2-8C64-FD088386FDEF}" srcOrd="0" destOrd="0" presId="urn:microsoft.com/office/officeart/2005/8/layout/arrow2"/>
    <dgm:cxn modelId="{659A5D48-493C-4C52-A983-C4F0AA526403}" type="presOf" srcId="{656458C8-620E-424F-BA29-3C94D87C1C12}" destId="{B85C2168-F842-498E-8ECB-28AF220805F6}" srcOrd="0" destOrd="0" presId="urn:microsoft.com/office/officeart/2005/8/layout/arrow2"/>
    <dgm:cxn modelId="{A4FBF782-97FA-4A69-8F08-21020753FA83}" type="presParOf" srcId="{578D0FB9-917F-4CC0-A007-411F3F96C931}" destId="{17DDBB05-BDFA-4DB2-9F0B-29D3F0C8C000}" srcOrd="0" destOrd="0" presId="urn:microsoft.com/office/officeart/2005/8/layout/arrow2"/>
    <dgm:cxn modelId="{D04A9A1D-100E-4D28-A231-E3A555B83714}" type="presParOf" srcId="{578D0FB9-917F-4CC0-A007-411F3F96C931}" destId="{42B39A96-0046-4A1F-8CBE-6AA1D1EF569B}" srcOrd="1" destOrd="0" presId="urn:microsoft.com/office/officeart/2005/8/layout/arrow2"/>
    <dgm:cxn modelId="{6B2E109C-F629-49E2-98D3-B615978CF1C5}" type="presParOf" srcId="{42B39A96-0046-4A1F-8CBE-6AA1D1EF569B}" destId="{4D32A8BA-C528-4154-98C2-0C689BA1A28E}" srcOrd="0" destOrd="0" presId="urn:microsoft.com/office/officeart/2005/8/layout/arrow2"/>
    <dgm:cxn modelId="{B9A39461-B6AC-4589-81F8-0A739BFE577C}" type="presParOf" srcId="{42B39A96-0046-4A1F-8CBE-6AA1D1EF569B}" destId="{131B3ADB-5427-4272-8FC7-1A46B9B3C0B1}" srcOrd="1" destOrd="0" presId="urn:microsoft.com/office/officeart/2005/8/layout/arrow2"/>
    <dgm:cxn modelId="{843BD91D-3881-4601-B331-BA686CD2F3D7}" type="presParOf" srcId="{42B39A96-0046-4A1F-8CBE-6AA1D1EF569B}" destId="{0FD5FEF3-1EF9-401D-ABE6-F788D845AF40}" srcOrd="2" destOrd="0" presId="urn:microsoft.com/office/officeart/2005/8/layout/arrow2"/>
    <dgm:cxn modelId="{EAE68FE1-9119-48D1-B228-B73CAAF952A2}" type="presParOf" srcId="{42B39A96-0046-4A1F-8CBE-6AA1D1EF569B}" destId="{241DE455-84EC-443A-B076-FFA35B22B34D}" srcOrd="3" destOrd="0" presId="urn:microsoft.com/office/officeart/2005/8/layout/arrow2"/>
    <dgm:cxn modelId="{ADDBAA5A-E6E7-4181-9105-931EDD377237}" type="presParOf" srcId="{42B39A96-0046-4A1F-8CBE-6AA1D1EF569B}" destId="{CFF15FAC-5719-4C10-A1A3-E1C25AF45E8F}" srcOrd="4" destOrd="0" presId="urn:microsoft.com/office/officeart/2005/8/layout/arrow2"/>
    <dgm:cxn modelId="{B709CE5E-21E2-472F-A704-3178F2EAF39C}" type="presParOf" srcId="{42B39A96-0046-4A1F-8CBE-6AA1D1EF569B}" destId="{04BCD35D-9176-4EA2-8C64-FD088386FDEF}" srcOrd="5" destOrd="0" presId="urn:microsoft.com/office/officeart/2005/8/layout/arrow2"/>
    <dgm:cxn modelId="{41E04249-F6FC-4843-B098-5AD2D0444C6C}" type="presParOf" srcId="{42B39A96-0046-4A1F-8CBE-6AA1D1EF569B}" destId="{BD6B94A6-E378-4D7E-97EF-20FE2AD6F1D5}" srcOrd="6" destOrd="0" presId="urn:microsoft.com/office/officeart/2005/8/layout/arrow2"/>
    <dgm:cxn modelId="{590E3EE6-AEF9-4A5E-9F55-9D66A790A0DA}" type="presParOf" srcId="{42B39A96-0046-4A1F-8CBE-6AA1D1EF569B}" destId="{B85C2168-F842-498E-8ECB-28AF220805F6}" srcOrd="7" destOrd="0" presId="urn:microsoft.com/office/officeart/2005/8/layout/arrow2"/>
    <dgm:cxn modelId="{8B60AFA3-01AB-436D-942E-B74926D0C5C5}" type="presParOf" srcId="{42B39A96-0046-4A1F-8CBE-6AA1D1EF569B}" destId="{8480E726-5250-4A51-84BD-99A36C5B00B3}" srcOrd="8" destOrd="0" presId="urn:microsoft.com/office/officeart/2005/8/layout/arrow2"/>
    <dgm:cxn modelId="{0FF60D8D-BCB9-44FA-843C-780A206C5FE7}" type="presParOf" srcId="{42B39A96-0046-4A1F-8CBE-6AA1D1EF569B}" destId="{7C0862F5-C9D0-460F-845D-EC41C6605AF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4EDA28A-7986-487F-B5AF-0A3C6791DB47}" type="doc">
      <dgm:prSet loTypeId="urn:microsoft.com/office/officeart/2005/8/layout/radial6" loCatId="relationship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55E245E-9F76-47FF-B166-B42D3C8F437A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Reporting</a:t>
          </a:r>
          <a:endParaRPr lang="en-US" sz="1300">
            <a:latin typeface="+mj-lt"/>
          </a:endParaRPr>
        </a:p>
      </dgm:t>
    </dgm:pt>
    <dgm:pt modelId="{6565A3B3-F211-4698-A13F-58C79F13B3E8}" type="parTrans" cxnId="{30EBA03E-E8A4-43A2-A18E-6DBFD5E1E9CD}">
      <dgm:prSet/>
      <dgm:spPr/>
      <dgm:t>
        <a:bodyPr/>
        <a:lstStyle/>
        <a:p>
          <a:endParaRPr lang="en-US"/>
        </a:p>
      </dgm:t>
    </dgm:pt>
    <dgm:pt modelId="{4DD1F69C-716C-4416-90AE-81B17482A04E}" type="sibTrans" cxnId="{30EBA03E-E8A4-43A2-A18E-6DBFD5E1E9CD}">
      <dgm:prSet/>
      <dgm:spPr/>
      <dgm:t>
        <a:bodyPr/>
        <a:lstStyle/>
        <a:p>
          <a:endParaRPr lang="en-US"/>
        </a:p>
      </dgm:t>
    </dgm:pt>
    <dgm:pt modelId="{3E0948C1-D0C1-47B2-A08D-9650A8FDFC77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Cost management</a:t>
          </a:r>
          <a:endParaRPr lang="en-US" sz="1300">
            <a:latin typeface="+mj-lt"/>
          </a:endParaRPr>
        </a:p>
      </dgm:t>
    </dgm:pt>
    <dgm:pt modelId="{66AD594B-7921-4338-BBFC-92CDF0D0E92B}" type="parTrans" cxnId="{66AB9365-828D-4FC5-BCE0-29E4415F4CAB}">
      <dgm:prSet/>
      <dgm:spPr/>
      <dgm:t>
        <a:bodyPr/>
        <a:lstStyle/>
        <a:p>
          <a:endParaRPr lang="en-US"/>
        </a:p>
      </dgm:t>
    </dgm:pt>
    <dgm:pt modelId="{19BBA7FE-B744-413E-B8F8-8EC5A71D4AC7}" type="sibTrans" cxnId="{66AB9365-828D-4FC5-BCE0-29E4415F4CAB}">
      <dgm:prSet/>
      <dgm:spPr/>
      <dgm:t>
        <a:bodyPr/>
        <a:lstStyle/>
        <a:p>
          <a:endParaRPr lang="en-US"/>
        </a:p>
      </dgm:t>
    </dgm:pt>
    <dgm:pt modelId="{5F0207C8-05BE-4F6B-A71C-AC2F545543E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Support</a:t>
          </a:r>
          <a:endParaRPr lang="en-US" sz="1300">
            <a:latin typeface="+mj-lt"/>
          </a:endParaRPr>
        </a:p>
      </dgm:t>
    </dgm:pt>
    <dgm:pt modelId="{5DF5FB0A-6EFE-41D9-A386-7885B54327A7}" type="parTrans" cxnId="{FD65D0D8-69CA-45A1-9945-2B09F828E0C8}">
      <dgm:prSet/>
      <dgm:spPr/>
      <dgm:t>
        <a:bodyPr/>
        <a:lstStyle/>
        <a:p>
          <a:endParaRPr lang="en-US"/>
        </a:p>
      </dgm:t>
    </dgm:pt>
    <dgm:pt modelId="{94113523-6CB8-4667-864B-C13174247B0A}" type="sibTrans" cxnId="{FD65D0D8-69CA-45A1-9945-2B09F828E0C8}">
      <dgm:prSet/>
      <dgm:spPr/>
      <dgm:t>
        <a:bodyPr/>
        <a:lstStyle/>
        <a:p>
          <a:endParaRPr lang="en-US"/>
        </a:p>
      </dgm:t>
    </dgm:pt>
    <dgm:pt modelId="{275BC3B2-2F40-44BD-99D3-A79D2BEE441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Project management</a:t>
          </a:r>
          <a:endParaRPr lang="en-US" sz="1300">
            <a:latin typeface="+mj-lt"/>
          </a:endParaRPr>
        </a:p>
      </dgm:t>
    </dgm:pt>
    <dgm:pt modelId="{2A2C1A77-BC05-4C62-93C9-E65FF2142384}" type="parTrans" cxnId="{F2756A2B-BDE7-4676-98AF-92B5BEDB9025}">
      <dgm:prSet/>
      <dgm:spPr/>
      <dgm:t>
        <a:bodyPr/>
        <a:lstStyle/>
        <a:p>
          <a:endParaRPr lang="en-US"/>
        </a:p>
      </dgm:t>
    </dgm:pt>
    <dgm:pt modelId="{518C9E5C-A733-4A10-90C9-5B03FA128213}" type="sibTrans" cxnId="{F2756A2B-BDE7-4676-98AF-92B5BEDB9025}">
      <dgm:prSet/>
      <dgm:spPr/>
      <dgm:t>
        <a:bodyPr/>
        <a:lstStyle/>
        <a:p>
          <a:endParaRPr lang="en-US"/>
        </a:p>
      </dgm:t>
    </dgm:pt>
    <dgm:pt modelId="{2FB4A2A9-0A30-4BAD-AB31-199FA0A1E212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Project information</a:t>
          </a:r>
          <a:endParaRPr lang="en-US" sz="1300">
            <a:latin typeface="+mj-lt"/>
          </a:endParaRPr>
        </a:p>
      </dgm:t>
    </dgm:pt>
    <dgm:pt modelId="{A2083713-14E4-484E-80A4-83DD6E0E413D}" type="parTrans" cxnId="{C4705344-7EF4-4742-A816-60DC845BEB80}">
      <dgm:prSet/>
      <dgm:spPr/>
      <dgm:t>
        <a:bodyPr/>
        <a:lstStyle/>
        <a:p>
          <a:endParaRPr lang="en-US"/>
        </a:p>
      </dgm:t>
    </dgm:pt>
    <dgm:pt modelId="{74FFE720-69E3-4422-AA66-0D5E5D00805F}" type="sibTrans" cxnId="{C4705344-7EF4-4742-A816-60DC845BEB80}">
      <dgm:prSet/>
      <dgm:spPr/>
      <dgm:t>
        <a:bodyPr/>
        <a:lstStyle/>
        <a:p>
          <a:endParaRPr lang="en-US"/>
        </a:p>
      </dgm:t>
    </dgm:pt>
    <dgm:pt modelId="{B9C38477-084C-4E2C-A2C9-0DAD52F6C191}">
      <dgm:prSet phldrT="[Text]"/>
      <dgm:spPr>
        <a:solidFill>
          <a:schemeClr val="lt1">
            <a:hueOff val="0"/>
            <a:satOff val="0"/>
            <a:lumOff val="0"/>
            <a:alpha val="0"/>
          </a:schemeClr>
        </a:solidFill>
      </dgm:spPr>
      <dgm:t>
        <a:bodyPr/>
        <a:lstStyle/>
        <a:p>
          <a:r>
            <a:rPr lang="hu-HU" smtClean="0"/>
            <a:t> </a:t>
          </a:r>
          <a:endParaRPr lang="en-US"/>
        </a:p>
      </dgm:t>
    </dgm:pt>
    <dgm:pt modelId="{4E8075D4-B584-49D0-A17C-347AFD8AD087}" type="sibTrans" cxnId="{542098A7-EA02-4FEC-BB30-74EDCBF59AC8}">
      <dgm:prSet/>
      <dgm:spPr/>
      <dgm:t>
        <a:bodyPr/>
        <a:lstStyle/>
        <a:p>
          <a:endParaRPr lang="en-US"/>
        </a:p>
      </dgm:t>
    </dgm:pt>
    <dgm:pt modelId="{E5877FA7-FC2A-43D5-B72E-6CAB86D0C1D7}" type="parTrans" cxnId="{542098A7-EA02-4FEC-BB30-74EDCBF59AC8}">
      <dgm:prSet/>
      <dgm:spPr/>
      <dgm:t>
        <a:bodyPr/>
        <a:lstStyle/>
        <a:p>
          <a:endParaRPr lang="en-US"/>
        </a:p>
      </dgm:t>
    </dgm:pt>
    <dgm:pt modelId="{2ECE1431-8502-4246-8502-AFFCF38A127F}">
      <dgm:prSet phldrT="[Text]" custT="1"/>
      <dgm:spPr/>
      <dgm:t>
        <a:bodyPr/>
        <a:lstStyle/>
        <a:p>
          <a:r>
            <a:rPr lang="hu-HU" sz="1300" smtClean="0">
              <a:latin typeface="+mj-lt"/>
            </a:rPr>
            <a:t>Resource management</a:t>
          </a:r>
          <a:endParaRPr lang="en-US" sz="1300">
            <a:latin typeface="+mj-lt"/>
          </a:endParaRPr>
        </a:p>
      </dgm:t>
    </dgm:pt>
    <dgm:pt modelId="{BA1CB5AC-19BE-41C8-B054-E68DABE4B8A5}" type="parTrans" cxnId="{FB4940DF-E2CD-4F23-B2BD-A804A7651A33}">
      <dgm:prSet/>
      <dgm:spPr/>
      <dgm:t>
        <a:bodyPr/>
        <a:lstStyle/>
        <a:p>
          <a:endParaRPr lang="en-US"/>
        </a:p>
      </dgm:t>
    </dgm:pt>
    <dgm:pt modelId="{1B6C20BC-BC06-4C77-AAB2-B7BCF1D6968C}" type="sibTrans" cxnId="{FB4940DF-E2CD-4F23-B2BD-A804A7651A33}">
      <dgm:prSet/>
      <dgm:spPr/>
      <dgm:t>
        <a:bodyPr/>
        <a:lstStyle/>
        <a:p>
          <a:endParaRPr lang="en-US"/>
        </a:p>
      </dgm:t>
    </dgm:pt>
    <dgm:pt modelId="{F9AC6059-538D-4A20-96A6-6F7BE9EBBE01}">
      <dgm:prSet phldrT="[Text]" custT="1"/>
      <dgm:spPr/>
      <dgm:t>
        <a:bodyPr/>
        <a:lstStyle/>
        <a:p>
          <a:r>
            <a:rPr lang="hu-HU" sz="1200" smtClean="0">
              <a:latin typeface="+mj-lt"/>
            </a:rPr>
            <a:t>Communication</a:t>
          </a:r>
          <a:endParaRPr lang="en-US" sz="1200">
            <a:latin typeface="+mj-lt"/>
          </a:endParaRPr>
        </a:p>
      </dgm:t>
    </dgm:pt>
    <dgm:pt modelId="{86D94845-DCD6-4366-A851-090AFF3BFB1B}" type="parTrans" cxnId="{0777ABC6-7495-4578-90C6-ECCB27D041F8}">
      <dgm:prSet/>
      <dgm:spPr/>
      <dgm:t>
        <a:bodyPr/>
        <a:lstStyle/>
        <a:p>
          <a:endParaRPr lang="en-US"/>
        </a:p>
      </dgm:t>
    </dgm:pt>
    <dgm:pt modelId="{668F6473-25DF-4BC6-AF68-4C65B008505A}" type="sibTrans" cxnId="{0777ABC6-7495-4578-90C6-ECCB27D041F8}">
      <dgm:prSet/>
      <dgm:spPr/>
      <dgm:t>
        <a:bodyPr/>
        <a:lstStyle/>
        <a:p>
          <a:endParaRPr lang="en-US"/>
        </a:p>
      </dgm:t>
    </dgm:pt>
    <dgm:pt modelId="{893C353D-8F74-451E-B718-8CE64B9AD204}" type="pres">
      <dgm:prSet presAssocID="{B4EDA28A-7986-487F-B5AF-0A3C6791DB47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552FECF-6F99-4711-8679-EC9174465DEC}" type="pres">
      <dgm:prSet presAssocID="{B9C38477-084C-4E2C-A2C9-0DAD52F6C191}" presName="centerShape" presStyleLbl="node0" presStyleIdx="0" presStyleCnt="1" custAng="0" custFlipVert="0" custFlipHor="0" custScaleX="119844" custScaleY="118398" custLinFactNeighborX="-1492" custLinFactNeighborY="-5021"/>
      <dgm:spPr/>
      <dgm:t>
        <a:bodyPr/>
        <a:lstStyle/>
        <a:p>
          <a:endParaRPr lang="en-US"/>
        </a:p>
      </dgm:t>
    </dgm:pt>
    <dgm:pt modelId="{665DB003-157E-4D6A-BD06-7268E5FE3739}" type="pres">
      <dgm:prSet presAssocID="{275BC3B2-2F40-44BD-99D3-A79D2BEE4412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983A1B-23D1-4F5C-8FEE-E6AA9EE3CFAE}" type="pres">
      <dgm:prSet presAssocID="{275BC3B2-2F40-44BD-99D3-A79D2BEE4412}" presName="dummy" presStyleCnt="0"/>
      <dgm:spPr/>
    </dgm:pt>
    <dgm:pt modelId="{90A6F6C8-714D-4CCB-ACCE-C82BCBAD4F85}" type="pres">
      <dgm:prSet presAssocID="{518C9E5C-A733-4A10-90C9-5B03FA128213}" presName="sibTrans" presStyleLbl="sibTrans2D1" presStyleIdx="0" presStyleCnt="7"/>
      <dgm:spPr/>
      <dgm:t>
        <a:bodyPr/>
        <a:lstStyle/>
        <a:p>
          <a:endParaRPr lang="en-US"/>
        </a:p>
      </dgm:t>
    </dgm:pt>
    <dgm:pt modelId="{A6A88D24-7989-41C7-B5B5-80530370E609}" type="pres">
      <dgm:prSet presAssocID="{2ECE1431-8502-4246-8502-AFFCF38A127F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556AE7-C2A4-41F7-AF1F-EBE194010586}" type="pres">
      <dgm:prSet presAssocID="{2ECE1431-8502-4246-8502-AFFCF38A127F}" presName="dummy" presStyleCnt="0"/>
      <dgm:spPr/>
    </dgm:pt>
    <dgm:pt modelId="{74B6BB6C-DAAF-4928-85CB-F923FC960CBF}" type="pres">
      <dgm:prSet presAssocID="{1B6C20BC-BC06-4C77-AAB2-B7BCF1D6968C}" presName="sibTrans" presStyleLbl="sibTrans2D1" presStyleIdx="1" presStyleCnt="7"/>
      <dgm:spPr/>
      <dgm:t>
        <a:bodyPr/>
        <a:lstStyle/>
        <a:p>
          <a:endParaRPr lang="en-US"/>
        </a:p>
      </dgm:t>
    </dgm:pt>
    <dgm:pt modelId="{7A9BE9B9-49D8-4453-AC96-115530523418}" type="pres">
      <dgm:prSet presAssocID="{2FB4A2A9-0A30-4BAD-AB31-199FA0A1E212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8C922C-70F3-4FE8-95CC-CA25CA128494}" type="pres">
      <dgm:prSet presAssocID="{2FB4A2A9-0A30-4BAD-AB31-199FA0A1E212}" presName="dummy" presStyleCnt="0"/>
      <dgm:spPr/>
    </dgm:pt>
    <dgm:pt modelId="{37606AD0-239E-43B7-9C26-9371C01FEAEF}" type="pres">
      <dgm:prSet presAssocID="{74FFE720-69E3-4422-AA66-0D5E5D00805F}" presName="sibTrans" presStyleLbl="sibTrans2D1" presStyleIdx="2" presStyleCnt="7"/>
      <dgm:spPr/>
      <dgm:t>
        <a:bodyPr/>
        <a:lstStyle/>
        <a:p>
          <a:endParaRPr lang="en-US"/>
        </a:p>
      </dgm:t>
    </dgm:pt>
    <dgm:pt modelId="{3D04955C-A07C-4D91-85B7-4DBB9700C93D}" type="pres">
      <dgm:prSet presAssocID="{155E245E-9F76-47FF-B166-B42D3C8F437A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597CB0-54D9-406F-AF95-50E4C1514CB0}" type="pres">
      <dgm:prSet presAssocID="{155E245E-9F76-47FF-B166-B42D3C8F437A}" presName="dummy" presStyleCnt="0"/>
      <dgm:spPr/>
    </dgm:pt>
    <dgm:pt modelId="{32DB0848-3C8D-4CD0-8043-10161CEB433A}" type="pres">
      <dgm:prSet presAssocID="{4DD1F69C-716C-4416-90AE-81B17482A04E}" presName="sibTrans" presStyleLbl="sibTrans2D1" presStyleIdx="3" presStyleCnt="7" custScaleX="127770" custScaleY="108782"/>
      <dgm:spPr/>
      <dgm:t>
        <a:bodyPr/>
        <a:lstStyle/>
        <a:p>
          <a:endParaRPr lang="en-US"/>
        </a:p>
      </dgm:t>
    </dgm:pt>
    <dgm:pt modelId="{E86EA617-36C5-4692-AE2A-52C03756C5D7}" type="pres">
      <dgm:prSet presAssocID="{3E0948C1-D0C1-47B2-A08D-9650A8FDFC77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54B5E6-44C1-43EB-B819-DD1FC643CF9E}" type="pres">
      <dgm:prSet presAssocID="{3E0948C1-D0C1-47B2-A08D-9650A8FDFC77}" presName="dummy" presStyleCnt="0"/>
      <dgm:spPr/>
    </dgm:pt>
    <dgm:pt modelId="{0FB1538B-6FDE-418C-B07C-AC1E35C62802}" type="pres">
      <dgm:prSet presAssocID="{19BBA7FE-B744-413E-B8F8-8EC5A71D4AC7}" presName="sibTrans" presStyleLbl="sibTrans2D1" presStyleIdx="4" presStyleCnt="7"/>
      <dgm:spPr/>
      <dgm:t>
        <a:bodyPr/>
        <a:lstStyle/>
        <a:p>
          <a:endParaRPr lang="en-US"/>
        </a:p>
      </dgm:t>
    </dgm:pt>
    <dgm:pt modelId="{4C3B7C42-BFCA-4942-ACFF-0944B1C4B89C}" type="pres">
      <dgm:prSet presAssocID="{5F0207C8-05BE-4F6B-A71C-AC2F545543E2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69E637-D4FB-4C13-8948-7B9FA8BF4F81}" type="pres">
      <dgm:prSet presAssocID="{5F0207C8-05BE-4F6B-A71C-AC2F545543E2}" presName="dummy" presStyleCnt="0"/>
      <dgm:spPr/>
    </dgm:pt>
    <dgm:pt modelId="{6DA3B7BC-A54B-4F2E-B6BD-27A931AE9C19}" type="pres">
      <dgm:prSet presAssocID="{94113523-6CB8-4667-864B-C13174247B0A}" presName="sibTrans" presStyleLbl="sibTrans2D1" presStyleIdx="5" presStyleCnt="7"/>
      <dgm:spPr/>
      <dgm:t>
        <a:bodyPr/>
        <a:lstStyle/>
        <a:p>
          <a:endParaRPr lang="en-US"/>
        </a:p>
      </dgm:t>
    </dgm:pt>
    <dgm:pt modelId="{FB3F7FAB-16E3-483D-AB23-E3FD72FF703F}" type="pres">
      <dgm:prSet presAssocID="{F9AC6059-538D-4A20-96A6-6F7BE9EBBE01}" presName="node" presStyleLbl="node1" presStyleIdx="6" presStyleCnt="7" custScaleX="117094" custScaleY="1152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AB25D7-A562-42A4-8DDC-479A33702B21}" type="pres">
      <dgm:prSet presAssocID="{F9AC6059-538D-4A20-96A6-6F7BE9EBBE01}" presName="dummy" presStyleCnt="0"/>
      <dgm:spPr/>
    </dgm:pt>
    <dgm:pt modelId="{1CD9770B-1BFE-45C5-8ED5-B4FF9582EF9B}" type="pres">
      <dgm:prSet presAssocID="{668F6473-25DF-4BC6-AF68-4C65B008505A}" presName="sibTrans" presStyleLbl="sibTrans2D1" presStyleIdx="6" presStyleCnt="7"/>
      <dgm:spPr/>
      <dgm:t>
        <a:bodyPr/>
        <a:lstStyle/>
        <a:p>
          <a:endParaRPr lang="en-US"/>
        </a:p>
      </dgm:t>
    </dgm:pt>
  </dgm:ptLst>
  <dgm:cxnLst>
    <dgm:cxn modelId="{66AB9365-828D-4FC5-BCE0-29E4415F4CAB}" srcId="{B9C38477-084C-4E2C-A2C9-0DAD52F6C191}" destId="{3E0948C1-D0C1-47B2-A08D-9650A8FDFC77}" srcOrd="4" destOrd="0" parTransId="{66AD594B-7921-4338-BBFC-92CDF0D0E92B}" sibTransId="{19BBA7FE-B744-413E-B8F8-8EC5A71D4AC7}"/>
    <dgm:cxn modelId="{FB4940DF-E2CD-4F23-B2BD-A804A7651A33}" srcId="{B9C38477-084C-4E2C-A2C9-0DAD52F6C191}" destId="{2ECE1431-8502-4246-8502-AFFCF38A127F}" srcOrd="1" destOrd="0" parTransId="{BA1CB5AC-19BE-41C8-B054-E68DABE4B8A5}" sibTransId="{1B6C20BC-BC06-4C77-AAB2-B7BCF1D6968C}"/>
    <dgm:cxn modelId="{C4705344-7EF4-4742-A816-60DC845BEB80}" srcId="{B9C38477-084C-4E2C-A2C9-0DAD52F6C191}" destId="{2FB4A2A9-0A30-4BAD-AB31-199FA0A1E212}" srcOrd="2" destOrd="0" parTransId="{A2083713-14E4-484E-80A4-83DD6E0E413D}" sibTransId="{74FFE720-69E3-4422-AA66-0D5E5D00805F}"/>
    <dgm:cxn modelId="{0777ABC6-7495-4578-90C6-ECCB27D041F8}" srcId="{B9C38477-084C-4E2C-A2C9-0DAD52F6C191}" destId="{F9AC6059-538D-4A20-96A6-6F7BE9EBBE01}" srcOrd="6" destOrd="0" parTransId="{86D94845-DCD6-4366-A851-090AFF3BFB1B}" sibTransId="{668F6473-25DF-4BC6-AF68-4C65B008505A}"/>
    <dgm:cxn modelId="{BEAA2C07-30BF-4F38-9F9D-6FDAFA8D38A6}" type="presOf" srcId="{2FB4A2A9-0A30-4BAD-AB31-199FA0A1E212}" destId="{7A9BE9B9-49D8-4453-AC96-115530523418}" srcOrd="0" destOrd="0" presId="urn:microsoft.com/office/officeart/2005/8/layout/radial6"/>
    <dgm:cxn modelId="{E04D4ADC-F9A7-487C-B72A-58B81357F6A9}" type="presOf" srcId="{F9AC6059-538D-4A20-96A6-6F7BE9EBBE01}" destId="{FB3F7FAB-16E3-483D-AB23-E3FD72FF703F}" srcOrd="0" destOrd="0" presId="urn:microsoft.com/office/officeart/2005/8/layout/radial6"/>
    <dgm:cxn modelId="{A46543A6-E10E-49FA-9EED-88B206891713}" type="presOf" srcId="{19BBA7FE-B744-413E-B8F8-8EC5A71D4AC7}" destId="{0FB1538B-6FDE-418C-B07C-AC1E35C62802}" srcOrd="0" destOrd="0" presId="urn:microsoft.com/office/officeart/2005/8/layout/radial6"/>
    <dgm:cxn modelId="{E172FDA6-0BE6-432F-8A98-95F92E563493}" type="presOf" srcId="{5F0207C8-05BE-4F6B-A71C-AC2F545543E2}" destId="{4C3B7C42-BFCA-4942-ACFF-0944B1C4B89C}" srcOrd="0" destOrd="0" presId="urn:microsoft.com/office/officeart/2005/8/layout/radial6"/>
    <dgm:cxn modelId="{2C2B7414-5118-416F-BA9C-7FF75F454717}" type="presOf" srcId="{518C9E5C-A733-4A10-90C9-5B03FA128213}" destId="{90A6F6C8-714D-4CCB-ACCE-C82BCBAD4F85}" srcOrd="0" destOrd="0" presId="urn:microsoft.com/office/officeart/2005/8/layout/radial6"/>
    <dgm:cxn modelId="{542098A7-EA02-4FEC-BB30-74EDCBF59AC8}" srcId="{B4EDA28A-7986-487F-B5AF-0A3C6791DB47}" destId="{B9C38477-084C-4E2C-A2C9-0DAD52F6C191}" srcOrd="0" destOrd="0" parTransId="{E5877FA7-FC2A-43D5-B72E-6CAB86D0C1D7}" sibTransId="{4E8075D4-B584-49D0-A17C-347AFD8AD087}"/>
    <dgm:cxn modelId="{83351401-7A21-4208-AC64-F468715AD89B}" type="presOf" srcId="{1B6C20BC-BC06-4C77-AAB2-B7BCF1D6968C}" destId="{74B6BB6C-DAAF-4928-85CB-F923FC960CBF}" srcOrd="0" destOrd="0" presId="urn:microsoft.com/office/officeart/2005/8/layout/radial6"/>
    <dgm:cxn modelId="{F2756A2B-BDE7-4676-98AF-92B5BEDB9025}" srcId="{B9C38477-084C-4E2C-A2C9-0DAD52F6C191}" destId="{275BC3B2-2F40-44BD-99D3-A79D2BEE4412}" srcOrd="0" destOrd="0" parTransId="{2A2C1A77-BC05-4C62-93C9-E65FF2142384}" sibTransId="{518C9E5C-A733-4A10-90C9-5B03FA128213}"/>
    <dgm:cxn modelId="{1AEC0CD6-4AFA-41F4-B983-05FA268A1E16}" type="presOf" srcId="{94113523-6CB8-4667-864B-C13174247B0A}" destId="{6DA3B7BC-A54B-4F2E-B6BD-27A931AE9C19}" srcOrd="0" destOrd="0" presId="urn:microsoft.com/office/officeart/2005/8/layout/radial6"/>
    <dgm:cxn modelId="{0D686FE9-C184-450F-BB3E-D597881E23F5}" type="presOf" srcId="{B4EDA28A-7986-487F-B5AF-0A3C6791DB47}" destId="{893C353D-8F74-451E-B718-8CE64B9AD204}" srcOrd="0" destOrd="0" presId="urn:microsoft.com/office/officeart/2005/8/layout/radial6"/>
    <dgm:cxn modelId="{D6D5F251-8BC0-43C8-8761-DEA8B61DC7AB}" type="presOf" srcId="{155E245E-9F76-47FF-B166-B42D3C8F437A}" destId="{3D04955C-A07C-4D91-85B7-4DBB9700C93D}" srcOrd="0" destOrd="0" presId="urn:microsoft.com/office/officeart/2005/8/layout/radial6"/>
    <dgm:cxn modelId="{864A6890-A9FE-4382-B975-8EE8C0794A0E}" type="presOf" srcId="{275BC3B2-2F40-44BD-99D3-A79D2BEE4412}" destId="{665DB003-157E-4D6A-BD06-7268E5FE3739}" srcOrd="0" destOrd="0" presId="urn:microsoft.com/office/officeart/2005/8/layout/radial6"/>
    <dgm:cxn modelId="{E2A76B5A-DC12-4387-8112-A313ED1FA71D}" type="presOf" srcId="{4DD1F69C-716C-4416-90AE-81B17482A04E}" destId="{32DB0848-3C8D-4CD0-8043-10161CEB433A}" srcOrd="0" destOrd="0" presId="urn:microsoft.com/office/officeart/2005/8/layout/radial6"/>
    <dgm:cxn modelId="{B99F3DD3-5099-4FDB-AA4F-13851D61ED6A}" type="presOf" srcId="{2ECE1431-8502-4246-8502-AFFCF38A127F}" destId="{A6A88D24-7989-41C7-B5B5-80530370E609}" srcOrd="0" destOrd="0" presId="urn:microsoft.com/office/officeart/2005/8/layout/radial6"/>
    <dgm:cxn modelId="{3D633ABE-4003-4E9F-9F89-106F3A901320}" type="presOf" srcId="{B9C38477-084C-4E2C-A2C9-0DAD52F6C191}" destId="{7552FECF-6F99-4711-8679-EC9174465DEC}" srcOrd="0" destOrd="0" presId="urn:microsoft.com/office/officeart/2005/8/layout/radial6"/>
    <dgm:cxn modelId="{1B2F2370-8302-4B69-A137-C519805EC421}" type="presOf" srcId="{3E0948C1-D0C1-47B2-A08D-9650A8FDFC77}" destId="{E86EA617-36C5-4692-AE2A-52C03756C5D7}" srcOrd="0" destOrd="0" presId="urn:microsoft.com/office/officeart/2005/8/layout/radial6"/>
    <dgm:cxn modelId="{63F48052-184C-474A-A7FB-2F74D8CB2AB9}" type="presOf" srcId="{74FFE720-69E3-4422-AA66-0D5E5D00805F}" destId="{37606AD0-239E-43B7-9C26-9371C01FEAEF}" srcOrd="0" destOrd="0" presId="urn:microsoft.com/office/officeart/2005/8/layout/radial6"/>
    <dgm:cxn modelId="{4D742386-2C84-4069-B106-95E0117F8F5D}" type="presOf" srcId="{668F6473-25DF-4BC6-AF68-4C65B008505A}" destId="{1CD9770B-1BFE-45C5-8ED5-B4FF9582EF9B}" srcOrd="0" destOrd="0" presId="urn:microsoft.com/office/officeart/2005/8/layout/radial6"/>
    <dgm:cxn modelId="{30EBA03E-E8A4-43A2-A18E-6DBFD5E1E9CD}" srcId="{B9C38477-084C-4E2C-A2C9-0DAD52F6C191}" destId="{155E245E-9F76-47FF-B166-B42D3C8F437A}" srcOrd="3" destOrd="0" parTransId="{6565A3B3-F211-4698-A13F-58C79F13B3E8}" sibTransId="{4DD1F69C-716C-4416-90AE-81B17482A04E}"/>
    <dgm:cxn modelId="{FD65D0D8-69CA-45A1-9945-2B09F828E0C8}" srcId="{B9C38477-084C-4E2C-A2C9-0DAD52F6C191}" destId="{5F0207C8-05BE-4F6B-A71C-AC2F545543E2}" srcOrd="5" destOrd="0" parTransId="{5DF5FB0A-6EFE-41D9-A386-7885B54327A7}" sibTransId="{94113523-6CB8-4667-864B-C13174247B0A}"/>
    <dgm:cxn modelId="{96A1AF93-641F-487C-A963-0FD5F7E86173}" type="presParOf" srcId="{893C353D-8F74-451E-B718-8CE64B9AD204}" destId="{7552FECF-6F99-4711-8679-EC9174465DEC}" srcOrd="0" destOrd="0" presId="urn:microsoft.com/office/officeart/2005/8/layout/radial6"/>
    <dgm:cxn modelId="{3D2E39D5-AA21-4F61-A429-E1754D840509}" type="presParOf" srcId="{893C353D-8F74-451E-B718-8CE64B9AD204}" destId="{665DB003-157E-4D6A-BD06-7268E5FE3739}" srcOrd="1" destOrd="0" presId="urn:microsoft.com/office/officeart/2005/8/layout/radial6"/>
    <dgm:cxn modelId="{A3D78167-86CF-4014-B571-2F4C4A19567B}" type="presParOf" srcId="{893C353D-8F74-451E-B718-8CE64B9AD204}" destId="{1C983A1B-23D1-4F5C-8FEE-E6AA9EE3CFAE}" srcOrd="2" destOrd="0" presId="urn:microsoft.com/office/officeart/2005/8/layout/radial6"/>
    <dgm:cxn modelId="{36C401E4-F278-47E8-A82A-3C8E0A9531CE}" type="presParOf" srcId="{893C353D-8F74-451E-B718-8CE64B9AD204}" destId="{90A6F6C8-714D-4CCB-ACCE-C82BCBAD4F85}" srcOrd="3" destOrd="0" presId="urn:microsoft.com/office/officeart/2005/8/layout/radial6"/>
    <dgm:cxn modelId="{97FB6843-6AF7-4705-8B89-70D61DEF83F7}" type="presParOf" srcId="{893C353D-8F74-451E-B718-8CE64B9AD204}" destId="{A6A88D24-7989-41C7-B5B5-80530370E609}" srcOrd="4" destOrd="0" presId="urn:microsoft.com/office/officeart/2005/8/layout/radial6"/>
    <dgm:cxn modelId="{F472FFB7-2D80-4B59-A565-5AEA7D391BF1}" type="presParOf" srcId="{893C353D-8F74-451E-B718-8CE64B9AD204}" destId="{E8556AE7-C2A4-41F7-AF1F-EBE194010586}" srcOrd="5" destOrd="0" presId="urn:microsoft.com/office/officeart/2005/8/layout/radial6"/>
    <dgm:cxn modelId="{77D9475F-5771-41D2-B897-891C87AE18EA}" type="presParOf" srcId="{893C353D-8F74-451E-B718-8CE64B9AD204}" destId="{74B6BB6C-DAAF-4928-85CB-F923FC960CBF}" srcOrd="6" destOrd="0" presId="urn:microsoft.com/office/officeart/2005/8/layout/radial6"/>
    <dgm:cxn modelId="{F8398EC1-2DA0-444F-9BBA-72429958688E}" type="presParOf" srcId="{893C353D-8F74-451E-B718-8CE64B9AD204}" destId="{7A9BE9B9-49D8-4453-AC96-115530523418}" srcOrd="7" destOrd="0" presId="urn:microsoft.com/office/officeart/2005/8/layout/radial6"/>
    <dgm:cxn modelId="{1C15D89D-66C2-4DF1-8A1B-FCA09543E13E}" type="presParOf" srcId="{893C353D-8F74-451E-B718-8CE64B9AD204}" destId="{038C922C-70F3-4FE8-95CC-CA25CA128494}" srcOrd="8" destOrd="0" presId="urn:microsoft.com/office/officeart/2005/8/layout/radial6"/>
    <dgm:cxn modelId="{365B0839-2A4F-44B1-AE84-73A9C5B9A771}" type="presParOf" srcId="{893C353D-8F74-451E-B718-8CE64B9AD204}" destId="{37606AD0-239E-43B7-9C26-9371C01FEAEF}" srcOrd="9" destOrd="0" presId="urn:microsoft.com/office/officeart/2005/8/layout/radial6"/>
    <dgm:cxn modelId="{D29C6A5F-96CD-4AB9-94EB-ABE28642C80C}" type="presParOf" srcId="{893C353D-8F74-451E-B718-8CE64B9AD204}" destId="{3D04955C-A07C-4D91-85B7-4DBB9700C93D}" srcOrd="10" destOrd="0" presId="urn:microsoft.com/office/officeart/2005/8/layout/radial6"/>
    <dgm:cxn modelId="{0DDBC08C-BDB8-4F61-9AD0-844762F04BE4}" type="presParOf" srcId="{893C353D-8F74-451E-B718-8CE64B9AD204}" destId="{CA597CB0-54D9-406F-AF95-50E4C1514CB0}" srcOrd="11" destOrd="0" presId="urn:microsoft.com/office/officeart/2005/8/layout/radial6"/>
    <dgm:cxn modelId="{C97DFAC6-83DA-41DB-9716-4DE90C52BCA8}" type="presParOf" srcId="{893C353D-8F74-451E-B718-8CE64B9AD204}" destId="{32DB0848-3C8D-4CD0-8043-10161CEB433A}" srcOrd="12" destOrd="0" presId="urn:microsoft.com/office/officeart/2005/8/layout/radial6"/>
    <dgm:cxn modelId="{34108303-2AC6-4CB1-B833-F8CD4CDDAAF0}" type="presParOf" srcId="{893C353D-8F74-451E-B718-8CE64B9AD204}" destId="{E86EA617-36C5-4692-AE2A-52C03756C5D7}" srcOrd="13" destOrd="0" presId="urn:microsoft.com/office/officeart/2005/8/layout/radial6"/>
    <dgm:cxn modelId="{0FA0EB40-2449-488E-9BB0-110D4A40731A}" type="presParOf" srcId="{893C353D-8F74-451E-B718-8CE64B9AD204}" destId="{1E54B5E6-44C1-43EB-B819-DD1FC643CF9E}" srcOrd="14" destOrd="0" presId="urn:microsoft.com/office/officeart/2005/8/layout/radial6"/>
    <dgm:cxn modelId="{C42BC0F6-64FC-43D2-821D-430250B90D06}" type="presParOf" srcId="{893C353D-8F74-451E-B718-8CE64B9AD204}" destId="{0FB1538B-6FDE-418C-B07C-AC1E35C62802}" srcOrd="15" destOrd="0" presId="urn:microsoft.com/office/officeart/2005/8/layout/radial6"/>
    <dgm:cxn modelId="{15EDBC20-A789-448B-A7A7-4C50BF04FB8A}" type="presParOf" srcId="{893C353D-8F74-451E-B718-8CE64B9AD204}" destId="{4C3B7C42-BFCA-4942-ACFF-0944B1C4B89C}" srcOrd="16" destOrd="0" presId="urn:microsoft.com/office/officeart/2005/8/layout/radial6"/>
    <dgm:cxn modelId="{DA8E787C-24FC-4C25-98BB-2C7AEC85BC40}" type="presParOf" srcId="{893C353D-8F74-451E-B718-8CE64B9AD204}" destId="{B769E637-D4FB-4C13-8948-7B9FA8BF4F81}" srcOrd="17" destOrd="0" presId="urn:microsoft.com/office/officeart/2005/8/layout/radial6"/>
    <dgm:cxn modelId="{B195AE4C-0A71-4555-B4E0-A01F3FD308F7}" type="presParOf" srcId="{893C353D-8F74-451E-B718-8CE64B9AD204}" destId="{6DA3B7BC-A54B-4F2E-B6BD-27A931AE9C19}" srcOrd="18" destOrd="0" presId="urn:microsoft.com/office/officeart/2005/8/layout/radial6"/>
    <dgm:cxn modelId="{FB5A1B52-6BD2-4E71-BE34-44D053673B19}" type="presParOf" srcId="{893C353D-8F74-451E-B718-8CE64B9AD204}" destId="{FB3F7FAB-16E3-483D-AB23-E3FD72FF703F}" srcOrd="19" destOrd="0" presId="urn:microsoft.com/office/officeart/2005/8/layout/radial6"/>
    <dgm:cxn modelId="{43A90015-71E9-412C-AA70-77B72E9B944B}" type="presParOf" srcId="{893C353D-8F74-451E-B718-8CE64B9AD204}" destId="{51AB25D7-A562-42A4-8DDC-479A33702B21}" srcOrd="20" destOrd="0" presId="urn:microsoft.com/office/officeart/2005/8/layout/radial6"/>
    <dgm:cxn modelId="{760FBA3E-55FE-47F9-BD44-5228C04C8D1A}" type="presParOf" srcId="{893C353D-8F74-451E-B718-8CE64B9AD204}" destId="{1CD9770B-1BFE-45C5-8ED5-B4FF9582EF9B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544C81-75E2-44D8-96FA-A6C08A2F6D90}">
      <dsp:nvSpPr>
        <dsp:cNvPr id="0" name=""/>
        <dsp:cNvSpPr/>
      </dsp:nvSpPr>
      <dsp:spPr>
        <a:xfrm>
          <a:off x="6383801" y="1016212"/>
          <a:ext cx="593291" cy="593291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B85F0A-918D-4C00-A698-11D3D858B853}">
      <dsp:nvSpPr>
        <dsp:cNvPr id="0" name=""/>
        <dsp:cNvSpPr/>
      </dsp:nvSpPr>
      <dsp:spPr>
        <a:xfrm>
          <a:off x="3473463" y="1312858"/>
          <a:ext cx="3206983" cy="3698053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14373" bIns="0" numCol="1" spcCol="1270" anchor="t" anchorCtr="0">
          <a:noAutofit/>
        </a:bodyPr>
        <a:lstStyle/>
        <a:p>
          <a:pPr lvl="0" algn="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630015" y="1469410"/>
        <a:ext cx="2893879" cy="33849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Mature</a:t>
          </a: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DDBB05-BDFA-4DB2-9F0B-29D3F0C8C000}">
      <dsp:nvSpPr>
        <dsp:cNvPr id="0" name=""/>
        <dsp:cNvSpPr/>
      </dsp:nvSpPr>
      <dsp:spPr>
        <a:xfrm>
          <a:off x="266479" y="0"/>
          <a:ext cx="8017459" cy="5010912"/>
        </a:xfrm>
        <a:prstGeom prst="swooshArrow">
          <a:avLst>
            <a:gd name="adj1" fmla="val 25000"/>
            <a:gd name="adj2" fmla="val 25000"/>
          </a:avLst>
        </a:prstGeom>
        <a:gradFill flip="none" rotWithShape="1">
          <a:gsLst>
            <a:gs pos="56000">
              <a:schemeClr val="accent5">
                <a:lumMod val="75000"/>
              </a:schemeClr>
            </a:gs>
            <a:gs pos="0">
              <a:schemeClr val="accent3"/>
            </a:gs>
            <a:gs pos="80000">
              <a:schemeClr val="accent4">
                <a:lumMod val="40000"/>
                <a:lumOff val="60000"/>
              </a:schemeClr>
            </a:gs>
          </a:gsLst>
          <a:lin ang="108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32A8BA-C528-4154-98C2-0C689BA1A28E}">
      <dsp:nvSpPr>
        <dsp:cNvPr id="0" name=""/>
        <dsp:cNvSpPr/>
      </dsp:nvSpPr>
      <dsp:spPr>
        <a:xfrm>
          <a:off x="1056199" y="3726114"/>
          <a:ext cx="184401" cy="18440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3ADB-5427-4272-8FC7-1A46B9B3C0B1}">
      <dsp:nvSpPr>
        <dsp:cNvPr id="0" name=""/>
        <dsp:cNvSpPr/>
      </dsp:nvSpPr>
      <dsp:spPr>
        <a:xfrm>
          <a:off x="969205" y="3966435"/>
          <a:ext cx="1408676" cy="10444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7711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Initial</a:t>
          </a:r>
          <a:endParaRPr lang="en-US" sz="2200" kern="1200">
            <a:latin typeface="+mj-lt"/>
          </a:endParaRPr>
        </a:p>
      </dsp:txBody>
      <dsp:txXfrm>
        <a:off x="969205" y="3966435"/>
        <a:ext cx="1408676" cy="1044476"/>
      </dsp:txXfrm>
    </dsp:sp>
    <dsp:sp modelId="{0FD5FEF3-1EF9-401D-ABE6-F788D845AF40}">
      <dsp:nvSpPr>
        <dsp:cNvPr id="0" name=""/>
        <dsp:cNvSpPr/>
      </dsp:nvSpPr>
      <dsp:spPr>
        <a:xfrm>
          <a:off x="2054373" y="2767025"/>
          <a:ext cx="288628" cy="2886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1DE455-84EC-443A-B076-FFA35B22B34D}">
      <dsp:nvSpPr>
        <dsp:cNvPr id="0" name=""/>
        <dsp:cNvSpPr/>
      </dsp:nvSpPr>
      <dsp:spPr>
        <a:xfrm>
          <a:off x="1867047" y="3077730"/>
          <a:ext cx="1994177" cy="17667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3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Established</a:t>
          </a:r>
          <a:endParaRPr lang="en-US" sz="2200" kern="1200">
            <a:latin typeface="+mj-lt"/>
          </a:endParaRPr>
        </a:p>
      </dsp:txBody>
      <dsp:txXfrm>
        <a:off x="1867047" y="3077730"/>
        <a:ext cx="1994177" cy="1766789"/>
      </dsp:txXfrm>
    </dsp:sp>
    <dsp:sp modelId="{CFF15FAC-5719-4C10-A1A3-E1C25AF45E8F}">
      <dsp:nvSpPr>
        <dsp:cNvPr id="0" name=""/>
        <dsp:cNvSpPr/>
      </dsp:nvSpPr>
      <dsp:spPr>
        <a:xfrm>
          <a:off x="3337166" y="2002360"/>
          <a:ext cx="384838" cy="38483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BCD35D-9176-4EA2-8C64-FD088386FDEF}">
      <dsp:nvSpPr>
        <dsp:cNvPr id="0" name=""/>
        <dsp:cNvSpPr/>
      </dsp:nvSpPr>
      <dsp:spPr>
        <a:xfrm>
          <a:off x="3529585" y="2194779"/>
          <a:ext cx="1547369" cy="2816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918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Grown up</a:t>
          </a:r>
          <a:endParaRPr lang="en-US" sz="2200" kern="1200">
            <a:latin typeface="+mj-lt"/>
          </a:endParaRPr>
        </a:p>
      </dsp:txBody>
      <dsp:txXfrm>
        <a:off x="3529585" y="2194779"/>
        <a:ext cx="1547369" cy="2816132"/>
      </dsp:txXfrm>
    </dsp:sp>
    <dsp:sp modelId="{BD6B94A6-E378-4D7E-97EF-20FE2AD6F1D5}">
      <dsp:nvSpPr>
        <dsp:cNvPr id="0" name=""/>
        <dsp:cNvSpPr/>
      </dsp:nvSpPr>
      <dsp:spPr>
        <a:xfrm>
          <a:off x="4828414" y="1405059"/>
          <a:ext cx="497082" cy="49708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C2168-F842-498E-8ECB-28AF220805F6}">
      <dsp:nvSpPr>
        <dsp:cNvPr id="0" name=""/>
        <dsp:cNvSpPr/>
      </dsp:nvSpPr>
      <dsp:spPr>
        <a:xfrm>
          <a:off x="5076955" y="1653600"/>
          <a:ext cx="1603491" cy="33573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39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Mature</a:t>
          </a:r>
          <a:endParaRPr lang="en-US" sz="2200" kern="1200">
            <a:latin typeface="+mj-lt"/>
          </a:endParaRPr>
        </a:p>
      </dsp:txBody>
      <dsp:txXfrm>
        <a:off x="5076955" y="1653600"/>
        <a:ext cx="1603491" cy="3357311"/>
      </dsp:txXfrm>
    </dsp:sp>
    <dsp:sp modelId="{8480E726-5250-4A51-84BD-99A36C5B00B3}">
      <dsp:nvSpPr>
        <dsp:cNvPr id="0" name=""/>
        <dsp:cNvSpPr/>
      </dsp:nvSpPr>
      <dsp:spPr>
        <a:xfrm>
          <a:off x="6363757" y="1006191"/>
          <a:ext cx="633379" cy="63337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62F5-C9D0-460F-845D-EC41C6605AFF}">
      <dsp:nvSpPr>
        <dsp:cNvPr id="0" name=""/>
        <dsp:cNvSpPr/>
      </dsp:nvSpPr>
      <dsp:spPr>
        <a:xfrm>
          <a:off x="6680447" y="1322880"/>
          <a:ext cx="1603491" cy="36880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5615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smtClean="0">
              <a:latin typeface="+mj-lt"/>
            </a:rPr>
            <a:t>Best in class</a:t>
          </a:r>
          <a:endParaRPr lang="en-US" sz="2200" kern="1200">
            <a:latin typeface="+mj-lt"/>
          </a:endParaRPr>
        </a:p>
      </dsp:txBody>
      <dsp:txXfrm>
        <a:off x="6680447" y="1322880"/>
        <a:ext cx="1603491" cy="368803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D9770B-1BFE-45C5-8ED5-B4FF9582EF9B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3114286"/>
            <a:gd name="adj2" fmla="val 16200000"/>
            <a:gd name="adj3" fmla="val 3904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DA3B7BC-A54B-4F2E-B6BD-27A931AE9C19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0028571"/>
            <a:gd name="adj2" fmla="val 13114286"/>
            <a:gd name="adj3" fmla="val 390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FB1538B-6FDE-418C-B07C-AC1E35C62802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6942857"/>
            <a:gd name="adj2" fmla="val 10028571"/>
            <a:gd name="adj3" fmla="val 3904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2DB0848-3C8D-4CD0-8043-10161CEB433A}">
      <dsp:nvSpPr>
        <dsp:cNvPr id="0" name=""/>
        <dsp:cNvSpPr/>
      </dsp:nvSpPr>
      <dsp:spPr>
        <a:xfrm>
          <a:off x="1449584" y="446057"/>
          <a:ext cx="6947281" cy="5914840"/>
        </a:xfrm>
        <a:prstGeom prst="blockArc">
          <a:avLst>
            <a:gd name="adj1" fmla="val 3857143"/>
            <a:gd name="adj2" fmla="val 6942857"/>
            <a:gd name="adj3" fmla="val 3904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7606AD0-239E-43B7-9C26-9371C01FEAEF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771429"/>
            <a:gd name="adj2" fmla="val 3857143"/>
            <a:gd name="adj3" fmla="val 3904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4B6BB6C-DAAF-4928-85CB-F923FC960CBF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9285714"/>
            <a:gd name="adj2" fmla="val 771429"/>
            <a:gd name="adj3" fmla="val 3904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0A6F6C8-714D-4CCB-ACCE-C82BCBAD4F85}">
      <dsp:nvSpPr>
        <dsp:cNvPr id="0" name=""/>
        <dsp:cNvSpPr/>
      </dsp:nvSpPr>
      <dsp:spPr>
        <a:xfrm>
          <a:off x="2204558" y="684810"/>
          <a:ext cx="5437333" cy="5437333"/>
        </a:xfrm>
        <a:prstGeom prst="blockArc">
          <a:avLst>
            <a:gd name="adj1" fmla="val 16200000"/>
            <a:gd name="adj2" fmla="val 19285714"/>
            <a:gd name="adj3" fmla="val 390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552FECF-6F99-4711-8679-EC9174465DEC}">
      <dsp:nvSpPr>
        <dsp:cNvPr id="0" name=""/>
        <dsp:cNvSpPr/>
      </dsp:nvSpPr>
      <dsp:spPr>
        <a:xfrm>
          <a:off x="3581826" y="1889166"/>
          <a:ext cx="2523713" cy="2493263"/>
        </a:xfrm>
        <a:prstGeom prst="ellipse">
          <a:avLst/>
        </a:prstGeom>
        <a:solidFill>
          <a:schemeClr val="lt1">
            <a:hueOff val="0"/>
            <a:satOff val="0"/>
            <a:lumOff val="0"/>
            <a:alpha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6500" kern="1200" smtClean="0"/>
            <a:t> </a:t>
          </a:r>
          <a:endParaRPr lang="en-US" sz="6500" kern="1200"/>
        </a:p>
      </dsp:txBody>
      <dsp:txXfrm>
        <a:off x="3951415" y="2254296"/>
        <a:ext cx="1784535" cy="1763003"/>
      </dsp:txXfrm>
    </dsp:sp>
    <dsp:sp modelId="{665DB003-157E-4D6A-BD06-7268E5FE3739}">
      <dsp:nvSpPr>
        <dsp:cNvPr id="0" name=""/>
        <dsp:cNvSpPr/>
      </dsp:nvSpPr>
      <dsp:spPr>
        <a:xfrm>
          <a:off x="4186183" y="836"/>
          <a:ext cx="1474082" cy="147408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Project management</a:t>
          </a:r>
          <a:endParaRPr lang="en-US" sz="1300" kern="1200">
            <a:latin typeface="+mj-lt"/>
          </a:endParaRPr>
        </a:p>
      </dsp:txBody>
      <dsp:txXfrm>
        <a:off x="4402057" y="216710"/>
        <a:ext cx="1042334" cy="1042334"/>
      </dsp:txXfrm>
    </dsp:sp>
    <dsp:sp modelId="{A6A88D24-7989-41C7-B5B5-80530370E609}">
      <dsp:nvSpPr>
        <dsp:cNvPr id="0" name=""/>
        <dsp:cNvSpPr/>
      </dsp:nvSpPr>
      <dsp:spPr>
        <a:xfrm>
          <a:off x="6270233" y="1004461"/>
          <a:ext cx="1474082" cy="1474082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Resource management</a:t>
          </a:r>
          <a:endParaRPr lang="en-US" sz="1300" kern="1200">
            <a:latin typeface="+mj-lt"/>
          </a:endParaRPr>
        </a:p>
      </dsp:txBody>
      <dsp:txXfrm>
        <a:off x="6486107" y="1220335"/>
        <a:ext cx="1042334" cy="1042334"/>
      </dsp:txXfrm>
    </dsp:sp>
    <dsp:sp modelId="{7A9BE9B9-49D8-4453-AC96-115530523418}">
      <dsp:nvSpPr>
        <dsp:cNvPr id="0" name=""/>
        <dsp:cNvSpPr/>
      </dsp:nvSpPr>
      <dsp:spPr>
        <a:xfrm>
          <a:off x="6784951" y="3259588"/>
          <a:ext cx="1474082" cy="1474082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Project information</a:t>
          </a:r>
          <a:endParaRPr lang="en-US" sz="1300" kern="1200">
            <a:latin typeface="+mj-lt"/>
          </a:endParaRPr>
        </a:p>
      </dsp:txBody>
      <dsp:txXfrm>
        <a:off x="7000825" y="3475462"/>
        <a:ext cx="1042334" cy="1042334"/>
      </dsp:txXfrm>
    </dsp:sp>
    <dsp:sp modelId="{3D04955C-A07C-4D91-85B7-4DBB9700C93D}">
      <dsp:nvSpPr>
        <dsp:cNvPr id="0" name=""/>
        <dsp:cNvSpPr/>
      </dsp:nvSpPr>
      <dsp:spPr>
        <a:xfrm>
          <a:off x="5342744" y="5068058"/>
          <a:ext cx="1474082" cy="1474082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Reporting</a:t>
          </a:r>
          <a:endParaRPr lang="en-US" sz="1300" kern="1200">
            <a:latin typeface="+mj-lt"/>
          </a:endParaRPr>
        </a:p>
      </dsp:txBody>
      <dsp:txXfrm>
        <a:off x="5558618" y="5283932"/>
        <a:ext cx="1042334" cy="1042334"/>
      </dsp:txXfrm>
    </dsp:sp>
    <dsp:sp modelId="{E86EA617-36C5-4692-AE2A-52C03756C5D7}">
      <dsp:nvSpPr>
        <dsp:cNvPr id="0" name=""/>
        <dsp:cNvSpPr/>
      </dsp:nvSpPr>
      <dsp:spPr>
        <a:xfrm>
          <a:off x="3029623" y="5068058"/>
          <a:ext cx="1474082" cy="1474082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Cost management</a:t>
          </a:r>
          <a:endParaRPr lang="en-US" sz="1300" kern="1200">
            <a:latin typeface="+mj-lt"/>
          </a:endParaRPr>
        </a:p>
      </dsp:txBody>
      <dsp:txXfrm>
        <a:off x="3245497" y="5283932"/>
        <a:ext cx="1042334" cy="1042334"/>
      </dsp:txXfrm>
    </dsp:sp>
    <dsp:sp modelId="{4C3B7C42-BFCA-4942-ACFF-0944B1C4B89C}">
      <dsp:nvSpPr>
        <dsp:cNvPr id="0" name=""/>
        <dsp:cNvSpPr/>
      </dsp:nvSpPr>
      <dsp:spPr>
        <a:xfrm>
          <a:off x="1587415" y="3259588"/>
          <a:ext cx="1474082" cy="147408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300" kern="1200" smtClean="0">
              <a:latin typeface="+mj-lt"/>
            </a:rPr>
            <a:t>Support</a:t>
          </a:r>
          <a:endParaRPr lang="en-US" sz="1300" kern="1200">
            <a:latin typeface="+mj-lt"/>
          </a:endParaRPr>
        </a:p>
      </dsp:txBody>
      <dsp:txXfrm>
        <a:off x="1803289" y="3475462"/>
        <a:ext cx="1042334" cy="1042334"/>
      </dsp:txXfrm>
    </dsp:sp>
    <dsp:sp modelId="{FB3F7FAB-16E3-483D-AB23-E3FD72FF703F}">
      <dsp:nvSpPr>
        <dsp:cNvPr id="0" name=""/>
        <dsp:cNvSpPr/>
      </dsp:nvSpPr>
      <dsp:spPr>
        <a:xfrm>
          <a:off x="1976143" y="892092"/>
          <a:ext cx="1726062" cy="1698821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smtClean="0">
              <a:latin typeface="+mj-lt"/>
            </a:rPr>
            <a:t>Communication</a:t>
          </a:r>
          <a:endParaRPr lang="en-US" sz="1200" kern="1200">
            <a:latin typeface="+mj-lt"/>
          </a:endParaRPr>
        </a:p>
      </dsp:txBody>
      <dsp:txXfrm>
        <a:off x="2228919" y="1140879"/>
        <a:ext cx="1220510" cy="12012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2295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32" name="Grafik 31" descr="TSY_Logo_3c_p.em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38125"/>
            <a:ext cx="2516882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:p15="http://schemas.microsoft.com/office/powerpoint/2012/main" xmlns="">
        <p15:guide id="1" pos="340" userDrawn="1">
          <p15:clr>
            <a:srgbClr val="F26B43"/>
          </p15:clr>
        </p15:guide>
        <p15:guide id="2" pos="396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10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lvl="1" indent="-176213" defTabSz="914400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en-US" sz="1600" dirty="0" smtClean="0">
              <a:latin typeface="Tele-GroteskNor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5926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406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81000"/>
            <a:ext cx="1091910" cy="304883"/>
          </a:xfrm>
          <a:prstGeom prst="rect">
            <a:avLst/>
          </a:prstGeom>
        </p:spPr>
        <p:txBody>
          <a:bodyPr/>
          <a:lstStyle/>
          <a:p>
            <a:fld id="{92992318-D650-495C-8022-F1C4EE419B49}" type="datetimeFigureOut">
              <a:rPr lang="en-US" smtClean="0"/>
              <a:pPr/>
              <a:t>10/9/2018</a:t>
            </a:fld>
            <a:endParaRPr lang="en-US" dirty="0"/>
          </a:p>
        </p:txBody>
      </p:sp>
      <p:sp>
        <p:nvSpPr>
          <p:cNvPr id="493570" name="Rectangle 3"/>
          <p:cNvSpPr txBox="1">
            <a:spLocks noGrp="1" noChangeArrowheads="1"/>
          </p:cNvSpPr>
          <p:nvPr/>
        </p:nvSpPr>
        <p:spPr bwMode="auto">
          <a:xfrm>
            <a:off x="4251589" y="363436"/>
            <a:ext cx="2007989" cy="12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13.08.2007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1" name="Rectangle 5"/>
          <p:cNvSpPr txBox="1">
            <a:spLocks noGrp="1" noChangeArrowheads="1"/>
          </p:cNvSpPr>
          <p:nvPr/>
        </p:nvSpPr>
        <p:spPr bwMode="auto">
          <a:xfrm>
            <a:off x="4251589" y="549773"/>
            <a:ext cx="2007989" cy="13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DB84B6E7-C4E1-47D2-BA21-6764EBC8AB71}" type="slidenum">
              <a:rPr lang="en-US" sz="600" smtClean="0">
                <a:latin typeface="Tele-GroteskNor" pitchFamily="2" charset="0"/>
                <a:cs typeface="Arial Unicode MS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18</a:t>
            </a:fld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2" name="Rectangle 10"/>
          <p:cNvSpPr txBox="1">
            <a:spLocks noGrp="1" noChangeArrowheads="1"/>
          </p:cNvSpPr>
          <p:nvPr/>
        </p:nvSpPr>
        <p:spPr bwMode="auto">
          <a:xfrm>
            <a:off x="4251589" y="457373"/>
            <a:ext cx="2007989" cy="127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Autor / Thema der Präsentation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3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493574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883"/>
            <a:ext cx="5718438" cy="4599908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31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81000"/>
            <a:ext cx="1091910" cy="304883"/>
          </a:xfrm>
          <a:prstGeom prst="rect">
            <a:avLst/>
          </a:prstGeom>
        </p:spPr>
        <p:txBody>
          <a:bodyPr/>
          <a:lstStyle/>
          <a:p>
            <a:fld id="{92992318-D650-495C-8022-F1C4EE419B49}" type="datetimeFigureOut">
              <a:rPr lang="en-US" smtClean="0"/>
              <a:pPr/>
              <a:t>10/9/2018</a:t>
            </a:fld>
            <a:endParaRPr lang="en-US" dirty="0"/>
          </a:p>
        </p:txBody>
      </p:sp>
      <p:sp>
        <p:nvSpPr>
          <p:cNvPr id="493570" name="Rectangle 3"/>
          <p:cNvSpPr txBox="1">
            <a:spLocks noGrp="1" noChangeArrowheads="1"/>
          </p:cNvSpPr>
          <p:nvPr/>
        </p:nvSpPr>
        <p:spPr bwMode="auto">
          <a:xfrm>
            <a:off x="4251589" y="363436"/>
            <a:ext cx="2007989" cy="12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13.08.2007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1" name="Rectangle 5"/>
          <p:cNvSpPr txBox="1">
            <a:spLocks noGrp="1" noChangeArrowheads="1"/>
          </p:cNvSpPr>
          <p:nvPr/>
        </p:nvSpPr>
        <p:spPr bwMode="auto">
          <a:xfrm>
            <a:off x="4251589" y="549773"/>
            <a:ext cx="2007989" cy="13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DB84B6E7-C4E1-47D2-BA21-6764EBC8AB71}" type="slidenum">
              <a:rPr lang="en-US" sz="600" smtClean="0">
                <a:latin typeface="Tele-GroteskNor" pitchFamily="2" charset="0"/>
                <a:cs typeface="Arial Unicode MS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19</a:t>
            </a:fld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2" name="Rectangle 10"/>
          <p:cNvSpPr txBox="1">
            <a:spLocks noGrp="1" noChangeArrowheads="1"/>
          </p:cNvSpPr>
          <p:nvPr/>
        </p:nvSpPr>
        <p:spPr bwMode="auto">
          <a:xfrm>
            <a:off x="4251589" y="457373"/>
            <a:ext cx="2007989" cy="1278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latin typeface="Tele-GroteskNor" pitchFamily="2" charset="0"/>
                <a:cs typeface="Arial Unicode MS"/>
              </a:rPr>
              <a:t>Autor / Thema der Präsentation</a:t>
            </a:r>
            <a:endParaRPr lang="en-US" sz="6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3573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493574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883"/>
            <a:ext cx="5718438" cy="4599908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31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chemeClr val="tx2"/>
              </a:buClr>
              <a:buFont typeface="Wingdings" panose="05000000000000000000" pitchFamily="2" charset="2"/>
              <a:buNone/>
            </a:pPr>
            <a:endParaRPr lang="hu-HU" sz="1000" b="0" i="0" kern="1200" baseline="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8559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7800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8646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251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41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044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40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336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sz="1000" b="0" i="0" kern="120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850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1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16.emf"/><Relationship Id="rId5" Type="http://schemas.openxmlformats.org/officeDocument/2006/relationships/tags" Target="../tags/tag6.xml"/><Relationship Id="rId10" Type="http://schemas.openxmlformats.org/officeDocument/2006/relationships/image" Target="../media/image15.emf"/><Relationship Id="rId4" Type="http://schemas.openxmlformats.org/officeDocument/2006/relationships/tags" Target="../tags/tag5.xml"/><Relationship Id="rId9" Type="http://schemas.openxmlformats.org/officeDocument/2006/relationships/image" Target="../media/image1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8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9396774" cy="2026491"/>
          </a:xfrm>
        </p:spPr>
        <p:txBody>
          <a:bodyPr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60 (75) 90 PT</a:t>
            </a:r>
            <a:endParaRPr lang="en-US" dirty="0"/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60000" y="3780000"/>
            <a:ext cx="9432924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360363" y="6480175"/>
            <a:ext cx="5013325" cy="911226"/>
            <a:chOff x="360363" y="6480175"/>
            <a:chExt cx="5013325" cy="911226"/>
          </a:xfrm>
          <a:solidFill>
            <a:schemeClr val="bg1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360363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45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806451" y="6811963"/>
              <a:ext cx="144463" cy="147638"/>
            </a:xfrm>
            <a:custGeom>
              <a:avLst/>
              <a:gdLst>
                <a:gd name="T0" fmla="*/ 0 w 91"/>
                <a:gd name="T1" fmla="*/ 93 h 93"/>
                <a:gd name="T2" fmla="*/ 0 w 91"/>
                <a:gd name="T3" fmla="*/ 0 h 93"/>
                <a:gd name="T4" fmla="*/ 50 w 91"/>
                <a:gd name="T5" fmla="*/ 0 h 93"/>
                <a:gd name="T6" fmla="*/ 91 w 91"/>
                <a:gd name="T7" fmla="*/ 0 h 93"/>
                <a:gd name="T8" fmla="*/ 91 w 91"/>
                <a:gd name="T9" fmla="*/ 93 h 93"/>
                <a:gd name="T10" fmla="*/ 0 w 91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3">
                  <a:moveTo>
                    <a:pt x="0" y="93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91" y="0"/>
                  </a:lnTo>
                  <a:lnTo>
                    <a:pt x="91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124460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7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168275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2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60363" y="6480175"/>
              <a:ext cx="590550" cy="723900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1957388" y="6491288"/>
              <a:ext cx="433388" cy="728663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2420938" y="6723063"/>
              <a:ext cx="468313" cy="668338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2897188" y="6711950"/>
              <a:ext cx="334963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3244851" y="6540500"/>
              <a:ext cx="319088" cy="6715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3595688" y="6708775"/>
              <a:ext cx="381000" cy="509588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4013201" y="6711950"/>
              <a:ext cx="720725" cy="492125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4783138" y="6711950"/>
              <a:ext cx="333375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5227638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51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51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2101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040313" y="0"/>
            <a:ext cx="5040312" cy="755950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2993" tIns="62993" rIns="62993" bIns="62993" rtlCol="0" anchor="ctr"/>
          <a:lstStyle/>
          <a:p>
            <a:pPr indent="2778" algn="ctr" defTabSz="400086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575" dirty="0" smtClean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5400000" y="360000"/>
            <a:ext cx="4320000" cy="6120000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 smtClean="0"/>
              <a:t>01</a:t>
            </a:r>
            <a:br>
              <a:rPr lang="en-US" dirty="0" smtClean="0"/>
            </a:br>
            <a:r>
              <a:rPr lang="en-US" dirty="0" err="1" smtClean="0"/>
              <a:t>TeleGrotesk</a:t>
            </a:r>
            <a:r>
              <a:rPr lang="en-US" dirty="0" smtClean="0"/>
              <a:t> Headline</a:t>
            </a:r>
            <a:br>
              <a:rPr lang="en-US" dirty="0" smtClean="0"/>
            </a:br>
            <a:r>
              <a:rPr lang="en-US" dirty="0" smtClean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739119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 smtClean="0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TE MIK PM1 2018/19-1        -        PMO Bas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60001" y="280800"/>
            <a:ext cx="4607999" cy="908238"/>
          </a:xfrm>
        </p:spPr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112000" y="280800"/>
            <a:ext cx="4608250" cy="908238"/>
          </a:xfrm>
        </p:spPr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87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6000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60000"/>
          </a:xfrm>
        </p:spPr>
        <p:txBody>
          <a:bodyPr/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60000"/>
          </a:xfrm>
        </p:spPr>
        <p:txBody>
          <a:bodyPr/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6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 smtClean="0"/>
              <a:t>TeleGrotesk</a:t>
            </a:r>
            <a:r>
              <a:rPr lang="en-US" dirty="0" smtClean="0"/>
              <a:t> Headline Ultra 28 (32) 40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34" name="Rechteck 33"/>
          <p:cNvSpPr/>
          <p:nvPr userDrawn="1"/>
        </p:nvSpPr>
        <p:spPr bwMode="white">
          <a:xfrm>
            <a:off x="0" y="0"/>
            <a:ext cx="5040313" cy="75612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60000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60363" y="6659563"/>
            <a:ext cx="3765551" cy="684212"/>
            <a:chOff x="360363" y="6659563"/>
            <a:chExt cx="3765551" cy="684212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360363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69532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023938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3541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1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360363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558926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908176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226536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2527301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2790826" y="6831013"/>
              <a:ext cx="285750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3103563" y="6834188"/>
              <a:ext cx="541338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368141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401637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6708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608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515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4901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 smtClean="0"/>
              <a:t>TELEGROTESK Headline ULTRA</a:t>
            </a:r>
            <a:br>
              <a:rPr lang="en-US" sz="4800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0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Sub-heading: Tele-</a:t>
            </a:r>
            <a:r>
              <a:rPr lang="en-US" dirty="0" err="1" smtClean="0"/>
              <a:t>Grotesk</a:t>
            </a:r>
            <a:r>
              <a:rPr lang="en-US" dirty="0" smtClean="0"/>
              <a:t> Normal, 24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pic>
        <p:nvPicPr>
          <p:cNvPr id="35" name="Grafik 34" descr="TSY_Logo_3c_p.emf"/>
          <p:cNvPicPr>
            <a:picLocks noChangeAspect="1"/>
          </p:cNvPicPr>
          <p:nvPr userDrawn="1"/>
        </p:nvPicPr>
        <p:blipFill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9" y="6660000"/>
            <a:ext cx="376541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97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9"/>
          <p:cNvPicPr preferRelativeResize="0"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0363" y="360000"/>
            <a:ext cx="9360000" cy="3832998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036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 smtClean="0"/>
              <a:t>Sub-heading: Tele-</a:t>
            </a:r>
            <a:r>
              <a:rPr lang="en-US" dirty="0" err="1" smtClean="0"/>
              <a:t>Grotesk</a:t>
            </a:r>
            <a:r>
              <a:rPr lang="en-US" dirty="0" smtClean="0"/>
              <a:t> Normal, 24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pic>
        <p:nvPicPr>
          <p:cNvPr id="30" name="Grafik 29" descr="TSY_Logo_3c_p.emf"/>
          <p:cNvPicPr>
            <a:picLocks noChangeAspect="1"/>
          </p:cNvPicPr>
          <p:nvPr userDrawn="1"/>
        </p:nvPicPr>
        <p:blipFill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9" y="6660000"/>
            <a:ext cx="3765414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23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19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1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60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buClr>
                <a:schemeClr val="tx1"/>
              </a:buClr>
              <a:defRPr sz="1400"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6023" y="367569"/>
            <a:ext cx="7641493" cy="916212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7500969" y="7091105"/>
            <a:ext cx="1984623" cy="15270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dd.mm.yyyy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819426" y="7091105"/>
            <a:ext cx="4522280" cy="152702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PTE MIK PM1 2018/19-1        -        PMO Basics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9415587" y="7091105"/>
            <a:ext cx="318520" cy="152702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364117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255523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3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06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6" name="Rechteck 5"/>
          <p:cNvSpPr/>
          <p:nvPr userDrawn="1"/>
        </p:nvSpPr>
        <p:spPr bwMode="white">
          <a:xfrm>
            <a:off x="5040313" y="0"/>
            <a:ext cx="5040313" cy="75612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smtClean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540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400313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5400675" y="6659563"/>
            <a:ext cx="3763963" cy="684212"/>
            <a:chOff x="5400675" y="6659563"/>
            <a:chExt cx="3763963" cy="684212"/>
          </a:xfrm>
          <a:solidFill>
            <a:schemeClr val="bg1"/>
          </a:solidFill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5400675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57356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6064250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6392863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2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2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5400675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6599238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6946900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30567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7566025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7829550" y="6831013"/>
              <a:ext cx="287338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8143875" y="6834188"/>
              <a:ext cx="539750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72172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9055100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14146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780000"/>
            <a:ext cx="9359999" cy="1726587"/>
          </a:xfrm>
        </p:spPr>
        <p:txBody>
          <a:bodyPr tIns="14400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360363" y="6480175"/>
            <a:ext cx="5013325" cy="911226"/>
            <a:chOff x="360363" y="6480175"/>
            <a:chExt cx="5013325" cy="911226"/>
          </a:xfrm>
          <a:solidFill>
            <a:schemeClr val="bg1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360363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45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45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806451" y="6811963"/>
              <a:ext cx="144463" cy="147638"/>
            </a:xfrm>
            <a:custGeom>
              <a:avLst/>
              <a:gdLst>
                <a:gd name="T0" fmla="*/ 0 w 91"/>
                <a:gd name="T1" fmla="*/ 93 h 93"/>
                <a:gd name="T2" fmla="*/ 0 w 91"/>
                <a:gd name="T3" fmla="*/ 0 h 93"/>
                <a:gd name="T4" fmla="*/ 50 w 91"/>
                <a:gd name="T5" fmla="*/ 0 h 93"/>
                <a:gd name="T6" fmla="*/ 91 w 91"/>
                <a:gd name="T7" fmla="*/ 0 h 93"/>
                <a:gd name="T8" fmla="*/ 91 w 91"/>
                <a:gd name="T9" fmla="*/ 93 h 93"/>
                <a:gd name="T10" fmla="*/ 0 w 91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" h="93">
                  <a:moveTo>
                    <a:pt x="0" y="93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91" y="0"/>
                  </a:lnTo>
                  <a:lnTo>
                    <a:pt x="91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124460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7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682751" y="6811963"/>
              <a:ext cx="147638" cy="147638"/>
            </a:xfrm>
            <a:custGeom>
              <a:avLst/>
              <a:gdLst>
                <a:gd name="T0" fmla="*/ 0 w 93"/>
                <a:gd name="T1" fmla="*/ 93 h 93"/>
                <a:gd name="T2" fmla="*/ 0 w 93"/>
                <a:gd name="T3" fmla="*/ 0 h 93"/>
                <a:gd name="T4" fmla="*/ 42 w 93"/>
                <a:gd name="T5" fmla="*/ 0 h 93"/>
                <a:gd name="T6" fmla="*/ 93 w 93"/>
                <a:gd name="T7" fmla="*/ 0 h 93"/>
                <a:gd name="T8" fmla="*/ 93 w 93"/>
                <a:gd name="T9" fmla="*/ 93 h 93"/>
                <a:gd name="T10" fmla="*/ 0 w 93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93">
                  <a:moveTo>
                    <a:pt x="0" y="9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93" y="0"/>
                  </a:lnTo>
                  <a:lnTo>
                    <a:pt x="93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360363" y="6480175"/>
              <a:ext cx="590550" cy="723900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1957388" y="6491288"/>
              <a:ext cx="433388" cy="728663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2420938" y="6723063"/>
              <a:ext cx="468313" cy="668338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897188" y="6711950"/>
              <a:ext cx="334963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3244851" y="6540500"/>
              <a:ext cx="319088" cy="6715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3595688" y="6708775"/>
              <a:ext cx="381000" cy="509588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4013201" y="6711950"/>
              <a:ext cx="720725" cy="492125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4783138" y="6711950"/>
              <a:ext cx="333375" cy="500063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5227638" y="6811963"/>
              <a:ext cx="146050" cy="147638"/>
            </a:xfrm>
            <a:custGeom>
              <a:avLst/>
              <a:gdLst>
                <a:gd name="T0" fmla="*/ 0 w 92"/>
                <a:gd name="T1" fmla="*/ 93 h 93"/>
                <a:gd name="T2" fmla="*/ 0 w 92"/>
                <a:gd name="T3" fmla="*/ 0 h 93"/>
                <a:gd name="T4" fmla="*/ 51 w 92"/>
                <a:gd name="T5" fmla="*/ 0 h 93"/>
                <a:gd name="T6" fmla="*/ 92 w 92"/>
                <a:gd name="T7" fmla="*/ 0 h 93"/>
                <a:gd name="T8" fmla="*/ 92 w 92"/>
                <a:gd name="T9" fmla="*/ 93 h 93"/>
                <a:gd name="T10" fmla="*/ 0 w 92"/>
                <a:gd name="T11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93">
                  <a:moveTo>
                    <a:pt x="0" y="93"/>
                  </a:moveTo>
                  <a:lnTo>
                    <a:pt x="0" y="0"/>
                  </a:lnTo>
                  <a:lnTo>
                    <a:pt x="51" y="0"/>
                  </a:lnTo>
                  <a:lnTo>
                    <a:pt x="92" y="0"/>
                  </a:lnTo>
                  <a:lnTo>
                    <a:pt x="9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6593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60000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60000" y="3781425"/>
            <a:ext cx="4320000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360363" y="6659563"/>
            <a:ext cx="3765551" cy="684212"/>
            <a:chOff x="360363" y="6659563"/>
            <a:chExt cx="3765551" cy="684212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360363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69532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023938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3541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1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360363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1558926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08176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26536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2527301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2790826" y="6831013"/>
              <a:ext cx="285750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3103563" y="6834188"/>
              <a:ext cx="541338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3681413" y="6834188"/>
              <a:ext cx="252413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4016376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14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5400312" y="360000"/>
            <a:ext cx="4320000" cy="2502654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Ultra</a:t>
            </a:r>
            <a:br>
              <a:rPr lang="en-US" dirty="0" smtClean="0"/>
            </a:br>
            <a:r>
              <a:rPr lang="en-US" dirty="0" smtClean="0"/>
              <a:t>(60) 75 90 PT</a:t>
            </a:r>
            <a:endParaRPr lang="en-US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5400313" y="3781425"/>
            <a:ext cx="4319999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-heading: Tele-</a:t>
            </a:r>
            <a:r>
              <a:rPr lang="en-US" dirty="0" err="1" smtClean="0"/>
              <a:t>GroteskFet</a:t>
            </a:r>
            <a:r>
              <a:rPr lang="en-US" dirty="0" smtClean="0"/>
              <a:t> 18 </a:t>
            </a:r>
            <a:r>
              <a:rPr lang="en-US" dirty="0" err="1" smtClean="0"/>
              <a:t>pt</a:t>
            </a:r>
            <a:endParaRPr lang="en-US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5400675" y="6659563"/>
            <a:ext cx="3763963" cy="684212"/>
            <a:chOff x="5400675" y="6659563"/>
            <a:chExt cx="3763963" cy="684212"/>
          </a:xfrm>
          <a:solidFill>
            <a:schemeClr val="bg1"/>
          </a:solidFill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5400675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4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5735638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6064250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5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6392863" y="6908800"/>
              <a:ext cx="111125" cy="111125"/>
            </a:xfrm>
            <a:custGeom>
              <a:avLst/>
              <a:gdLst>
                <a:gd name="T0" fmla="*/ 0 w 70"/>
                <a:gd name="T1" fmla="*/ 70 h 70"/>
                <a:gd name="T2" fmla="*/ 0 w 70"/>
                <a:gd name="T3" fmla="*/ 0 h 70"/>
                <a:gd name="T4" fmla="*/ 32 w 70"/>
                <a:gd name="T5" fmla="*/ 0 h 70"/>
                <a:gd name="T6" fmla="*/ 70 w 70"/>
                <a:gd name="T7" fmla="*/ 0 h 70"/>
                <a:gd name="T8" fmla="*/ 70 w 70"/>
                <a:gd name="T9" fmla="*/ 70 h 70"/>
                <a:gd name="T10" fmla="*/ 0 w 70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70">
                  <a:moveTo>
                    <a:pt x="0" y="70"/>
                  </a:moveTo>
                  <a:lnTo>
                    <a:pt x="0" y="0"/>
                  </a:lnTo>
                  <a:lnTo>
                    <a:pt x="32" y="0"/>
                  </a:lnTo>
                  <a:lnTo>
                    <a:pt x="70" y="0"/>
                  </a:lnTo>
                  <a:lnTo>
                    <a:pt x="70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400675" y="6659563"/>
              <a:ext cx="444500" cy="542925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599238" y="6667500"/>
              <a:ext cx="327025" cy="547687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6946900" y="6842125"/>
              <a:ext cx="352425" cy="501650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30567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66025" y="6704013"/>
              <a:ext cx="239713" cy="506412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829550" y="6831013"/>
              <a:ext cx="287338" cy="382587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143875" y="6834188"/>
              <a:ext cx="539750" cy="368300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8721725" y="6834188"/>
              <a:ext cx="250825" cy="376237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9055100" y="6908800"/>
              <a:ext cx="109538" cy="111125"/>
            </a:xfrm>
            <a:custGeom>
              <a:avLst/>
              <a:gdLst>
                <a:gd name="T0" fmla="*/ 0 w 69"/>
                <a:gd name="T1" fmla="*/ 70 h 70"/>
                <a:gd name="T2" fmla="*/ 0 w 69"/>
                <a:gd name="T3" fmla="*/ 0 h 70"/>
                <a:gd name="T4" fmla="*/ 38 w 69"/>
                <a:gd name="T5" fmla="*/ 0 h 70"/>
                <a:gd name="T6" fmla="*/ 69 w 69"/>
                <a:gd name="T7" fmla="*/ 0 h 70"/>
                <a:gd name="T8" fmla="*/ 69 w 69"/>
                <a:gd name="T9" fmla="*/ 70 h 70"/>
                <a:gd name="T10" fmla="*/ 0 w 69"/>
                <a:gd name="T1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70">
                  <a:moveTo>
                    <a:pt x="0" y="70"/>
                  </a:moveTo>
                  <a:lnTo>
                    <a:pt x="0" y="0"/>
                  </a:lnTo>
                  <a:lnTo>
                    <a:pt x="38" y="0"/>
                  </a:lnTo>
                  <a:lnTo>
                    <a:pt x="69" y="0"/>
                  </a:lnTo>
                  <a:lnTo>
                    <a:pt x="69" y="70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49357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360000"/>
            <a:ext cx="9360000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86889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92426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040184" y="1"/>
            <a:ext cx="5040442" cy="756126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62993" tIns="62993" rIns="62993" bIns="62993" rtlCol="0" anchor="ctr"/>
          <a:lstStyle/>
          <a:p>
            <a:pPr indent="2778" algn="ctr" defTabSz="400086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575" dirty="0" smtClean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363" y="360363"/>
            <a:ext cx="4319587" cy="5761037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content/</a:t>
            </a:r>
            <a:br>
              <a:rPr lang="en-US" dirty="0" smtClean="0"/>
            </a:br>
            <a:r>
              <a:rPr lang="en-US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2513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363" y="1944000"/>
            <a:ext cx="9360000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smtClean="0"/>
              <a:t>Headline Ultra </a:t>
            </a:r>
            <a:br>
              <a:rPr lang="en-US" dirty="0" smtClean="0"/>
            </a:br>
            <a:r>
              <a:rPr lang="en-US" dirty="0" smtClean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255724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08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8425800" y="6840538"/>
            <a:ext cx="9000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816000" y="6840538"/>
            <a:ext cx="45396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9396000" y="6840538"/>
            <a:ext cx="320400" cy="3603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2C068DA-D53D-462E-BFC0-FE45A468E8EF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360363" y="6840538"/>
            <a:ext cx="2516187" cy="457200"/>
            <a:chOff x="227" y="4309"/>
            <a:chExt cx="1585" cy="288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227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2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68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5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506" y="4414"/>
              <a:ext cx="47" cy="46"/>
            </a:xfrm>
            <a:custGeom>
              <a:avLst/>
              <a:gdLst>
                <a:gd name="T0" fmla="*/ 0 w 47"/>
                <a:gd name="T1" fmla="*/ 46 h 46"/>
                <a:gd name="T2" fmla="*/ 0 w 47"/>
                <a:gd name="T3" fmla="*/ 0 h 46"/>
                <a:gd name="T4" fmla="*/ 24 w 47"/>
                <a:gd name="T5" fmla="*/ 0 h 46"/>
                <a:gd name="T6" fmla="*/ 47 w 47"/>
                <a:gd name="T7" fmla="*/ 0 h 46"/>
                <a:gd name="T8" fmla="*/ 47 w 47"/>
                <a:gd name="T9" fmla="*/ 46 h 46"/>
                <a:gd name="T10" fmla="*/ 0 w 47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6">
                  <a:moveTo>
                    <a:pt x="0" y="46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7" y="0"/>
                  </a:lnTo>
                  <a:lnTo>
                    <a:pt x="47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45" y="4414"/>
              <a:ext cx="47" cy="46"/>
            </a:xfrm>
            <a:custGeom>
              <a:avLst/>
              <a:gdLst>
                <a:gd name="T0" fmla="*/ 0 w 47"/>
                <a:gd name="T1" fmla="*/ 46 h 46"/>
                <a:gd name="T2" fmla="*/ 0 w 47"/>
                <a:gd name="T3" fmla="*/ 0 h 46"/>
                <a:gd name="T4" fmla="*/ 21 w 47"/>
                <a:gd name="T5" fmla="*/ 0 h 46"/>
                <a:gd name="T6" fmla="*/ 47 w 47"/>
                <a:gd name="T7" fmla="*/ 0 h 46"/>
                <a:gd name="T8" fmla="*/ 47 w 47"/>
                <a:gd name="T9" fmla="*/ 46 h 46"/>
                <a:gd name="T10" fmla="*/ 0 w 47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6">
                  <a:moveTo>
                    <a:pt x="0" y="46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7" y="0"/>
                  </a:lnTo>
                  <a:lnTo>
                    <a:pt x="47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227" y="4309"/>
              <a:ext cx="187" cy="229"/>
            </a:xfrm>
            <a:custGeom>
              <a:avLst/>
              <a:gdLst>
                <a:gd name="T0" fmla="*/ 322 w 325"/>
                <a:gd name="T1" fmla="*/ 0 h 397"/>
                <a:gd name="T2" fmla="*/ 4 w 325"/>
                <a:gd name="T3" fmla="*/ 0 h 397"/>
                <a:gd name="T4" fmla="*/ 0 w 325"/>
                <a:gd name="T5" fmla="*/ 140 h 397"/>
                <a:gd name="T6" fmla="*/ 21 w 325"/>
                <a:gd name="T7" fmla="*/ 143 h 397"/>
                <a:gd name="T8" fmla="*/ 54 w 325"/>
                <a:gd name="T9" fmla="*/ 52 h 397"/>
                <a:gd name="T10" fmla="*/ 131 w 325"/>
                <a:gd name="T11" fmla="*/ 19 h 397"/>
                <a:gd name="T12" fmla="*/ 131 w 325"/>
                <a:gd name="T13" fmla="*/ 312 h 397"/>
                <a:gd name="T14" fmla="*/ 120 w 325"/>
                <a:gd name="T15" fmla="*/ 362 h 397"/>
                <a:gd name="T16" fmla="*/ 88 w 325"/>
                <a:gd name="T17" fmla="*/ 374 h 397"/>
                <a:gd name="T18" fmla="*/ 65 w 325"/>
                <a:gd name="T19" fmla="*/ 374 h 397"/>
                <a:gd name="T20" fmla="*/ 65 w 325"/>
                <a:gd name="T21" fmla="*/ 397 h 397"/>
                <a:gd name="T22" fmla="*/ 261 w 325"/>
                <a:gd name="T23" fmla="*/ 397 h 397"/>
                <a:gd name="T24" fmla="*/ 261 w 325"/>
                <a:gd name="T25" fmla="*/ 374 h 397"/>
                <a:gd name="T26" fmla="*/ 238 w 325"/>
                <a:gd name="T27" fmla="*/ 374 h 397"/>
                <a:gd name="T28" fmla="*/ 206 w 325"/>
                <a:gd name="T29" fmla="*/ 362 h 397"/>
                <a:gd name="T30" fmla="*/ 194 w 325"/>
                <a:gd name="T31" fmla="*/ 312 h 397"/>
                <a:gd name="T32" fmla="*/ 194 w 325"/>
                <a:gd name="T33" fmla="*/ 19 h 397"/>
                <a:gd name="T34" fmla="*/ 272 w 325"/>
                <a:gd name="T35" fmla="*/ 52 h 397"/>
                <a:gd name="T36" fmla="*/ 304 w 325"/>
                <a:gd name="T37" fmla="*/ 143 h 397"/>
                <a:gd name="T38" fmla="*/ 325 w 325"/>
                <a:gd name="T39" fmla="*/ 140 h 397"/>
                <a:gd name="T40" fmla="*/ 322 w 325"/>
                <a:gd name="T4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5" h="397">
                  <a:moveTo>
                    <a:pt x="32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5" y="102"/>
                    <a:pt x="36" y="72"/>
                    <a:pt x="54" y="52"/>
                  </a:cubicBezTo>
                  <a:cubicBezTo>
                    <a:pt x="72" y="31"/>
                    <a:pt x="98" y="20"/>
                    <a:pt x="131" y="19"/>
                  </a:cubicBezTo>
                  <a:cubicBezTo>
                    <a:pt x="131" y="312"/>
                    <a:pt x="131" y="312"/>
                    <a:pt x="131" y="312"/>
                  </a:cubicBezTo>
                  <a:cubicBezTo>
                    <a:pt x="131" y="337"/>
                    <a:pt x="127" y="354"/>
                    <a:pt x="120" y="362"/>
                  </a:cubicBezTo>
                  <a:cubicBezTo>
                    <a:pt x="114" y="368"/>
                    <a:pt x="103" y="372"/>
                    <a:pt x="88" y="374"/>
                  </a:cubicBezTo>
                  <a:cubicBezTo>
                    <a:pt x="83" y="374"/>
                    <a:pt x="76" y="374"/>
                    <a:pt x="65" y="374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61" y="374"/>
                    <a:pt x="261" y="374"/>
                    <a:pt x="261" y="374"/>
                  </a:cubicBezTo>
                  <a:cubicBezTo>
                    <a:pt x="250" y="374"/>
                    <a:pt x="242" y="374"/>
                    <a:pt x="238" y="374"/>
                  </a:cubicBezTo>
                  <a:cubicBezTo>
                    <a:pt x="223" y="372"/>
                    <a:pt x="212" y="368"/>
                    <a:pt x="206" y="362"/>
                  </a:cubicBezTo>
                  <a:cubicBezTo>
                    <a:pt x="198" y="354"/>
                    <a:pt x="194" y="337"/>
                    <a:pt x="194" y="312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8" y="20"/>
                    <a:pt x="253" y="31"/>
                    <a:pt x="272" y="52"/>
                  </a:cubicBezTo>
                  <a:cubicBezTo>
                    <a:pt x="290" y="72"/>
                    <a:pt x="301" y="102"/>
                    <a:pt x="304" y="143"/>
                  </a:cubicBezTo>
                  <a:cubicBezTo>
                    <a:pt x="325" y="140"/>
                    <a:pt x="325" y="140"/>
                    <a:pt x="325" y="140"/>
                  </a:cubicBezTo>
                  <a:lnTo>
                    <a:pt x="32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732" y="4313"/>
              <a:ext cx="137" cy="230"/>
            </a:xfrm>
            <a:custGeom>
              <a:avLst/>
              <a:gdLst>
                <a:gd name="T0" fmla="*/ 202 w 239"/>
                <a:gd name="T1" fmla="*/ 134 h 400"/>
                <a:gd name="T2" fmla="*/ 175 w 239"/>
                <a:gd name="T3" fmla="*/ 59 h 400"/>
                <a:gd name="T4" fmla="*/ 108 w 239"/>
                <a:gd name="T5" fmla="*/ 20 h 400"/>
                <a:gd name="T6" fmla="*/ 66 w 239"/>
                <a:gd name="T7" fmla="*/ 35 h 400"/>
                <a:gd name="T8" fmla="*/ 45 w 239"/>
                <a:gd name="T9" fmla="*/ 84 h 400"/>
                <a:gd name="T10" fmla="*/ 68 w 239"/>
                <a:gd name="T11" fmla="*/ 134 h 400"/>
                <a:gd name="T12" fmla="*/ 120 w 239"/>
                <a:gd name="T13" fmla="*/ 159 h 400"/>
                <a:gd name="T14" fmla="*/ 198 w 239"/>
                <a:gd name="T15" fmla="*/ 193 h 400"/>
                <a:gd name="T16" fmla="*/ 239 w 239"/>
                <a:gd name="T17" fmla="*/ 279 h 400"/>
                <a:gd name="T18" fmla="*/ 205 w 239"/>
                <a:gd name="T19" fmla="*/ 367 h 400"/>
                <a:gd name="T20" fmla="*/ 127 w 239"/>
                <a:gd name="T21" fmla="*/ 400 h 400"/>
                <a:gd name="T22" fmla="*/ 82 w 239"/>
                <a:gd name="T23" fmla="*/ 391 h 400"/>
                <a:gd name="T24" fmla="*/ 52 w 239"/>
                <a:gd name="T25" fmla="*/ 374 h 400"/>
                <a:gd name="T26" fmla="*/ 40 w 239"/>
                <a:gd name="T27" fmla="*/ 370 h 400"/>
                <a:gd name="T28" fmla="*/ 26 w 239"/>
                <a:gd name="T29" fmla="*/ 378 h 400"/>
                <a:gd name="T30" fmla="*/ 18 w 239"/>
                <a:gd name="T31" fmla="*/ 391 h 400"/>
                <a:gd name="T32" fmla="*/ 0 w 239"/>
                <a:gd name="T33" fmla="*/ 391 h 400"/>
                <a:gd name="T34" fmla="*/ 0 w 239"/>
                <a:gd name="T35" fmla="*/ 252 h 400"/>
                <a:gd name="T36" fmla="*/ 19 w 239"/>
                <a:gd name="T37" fmla="*/ 252 h 400"/>
                <a:gd name="T38" fmla="*/ 46 w 239"/>
                <a:gd name="T39" fmla="*/ 332 h 400"/>
                <a:gd name="T40" fmla="*/ 124 w 239"/>
                <a:gd name="T41" fmla="*/ 379 h 400"/>
                <a:gd name="T42" fmla="*/ 171 w 239"/>
                <a:gd name="T43" fmla="*/ 363 h 400"/>
                <a:gd name="T44" fmla="*/ 195 w 239"/>
                <a:gd name="T45" fmla="*/ 304 h 400"/>
                <a:gd name="T46" fmla="*/ 158 w 239"/>
                <a:gd name="T47" fmla="*/ 239 h 400"/>
                <a:gd name="T48" fmla="*/ 94 w 239"/>
                <a:gd name="T49" fmla="*/ 214 h 400"/>
                <a:gd name="T50" fmla="*/ 35 w 239"/>
                <a:gd name="T51" fmla="*/ 183 h 400"/>
                <a:gd name="T52" fmla="*/ 3 w 239"/>
                <a:gd name="T53" fmla="*/ 107 h 400"/>
                <a:gd name="T54" fmla="*/ 38 w 239"/>
                <a:gd name="T55" fmla="*/ 25 h 400"/>
                <a:gd name="T56" fmla="*/ 105 w 239"/>
                <a:gd name="T57" fmla="*/ 0 h 400"/>
                <a:gd name="T58" fmla="*/ 148 w 239"/>
                <a:gd name="T59" fmla="*/ 8 h 400"/>
                <a:gd name="T60" fmla="*/ 175 w 239"/>
                <a:gd name="T61" fmla="*/ 23 h 400"/>
                <a:gd name="T62" fmla="*/ 185 w 239"/>
                <a:gd name="T63" fmla="*/ 26 h 400"/>
                <a:gd name="T64" fmla="*/ 203 w 239"/>
                <a:gd name="T65" fmla="*/ 8 h 400"/>
                <a:gd name="T66" fmla="*/ 219 w 239"/>
                <a:gd name="T67" fmla="*/ 8 h 400"/>
                <a:gd name="T68" fmla="*/ 219 w 239"/>
                <a:gd name="T69" fmla="*/ 134 h 400"/>
                <a:gd name="T70" fmla="*/ 202 w 239"/>
                <a:gd name="T71" fmla="*/ 13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9" h="400">
                  <a:moveTo>
                    <a:pt x="202" y="134"/>
                  </a:moveTo>
                  <a:cubicBezTo>
                    <a:pt x="195" y="100"/>
                    <a:pt x="186" y="75"/>
                    <a:pt x="175" y="59"/>
                  </a:cubicBezTo>
                  <a:cubicBezTo>
                    <a:pt x="158" y="33"/>
                    <a:pt x="135" y="20"/>
                    <a:pt x="108" y="20"/>
                  </a:cubicBezTo>
                  <a:cubicBezTo>
                    <a:pt x="91" y="20"/>
                    <a:pt x="77" y="25"/>
                    <a:pt x="66" y="35"/>
                  </a:cubicBezTo>
                  <a:cubicBezTo>
                    <a:pt x="52" y="47"/>
                    <a:pt x="45" y="63"/>
                    <a:pt x="45" y="84"/>
                  </a:cubicBezTo>
                  <a:cubicBezTo>
                    <a:pt x="45" y="105"/>
                    <a:pt x="53" y="122"/>
                    <a:pt x="68" y="134"/>
                  </a:cubicBezTo>
                  <a:cubicBezTo>
                    <a:pt x="77" y="142"/>
                    <a:pt x="94" y="150"/>
                    <a:pt x="120" y="159"/>
                  </a:cubicBezTo>
                  <a:cubicBezTo>
                    <a:pt x="159" y="172"/>
                    <a:pt x="184" y="184"/>
                    <a:pt x="198" y="193"/>
                  </a:cubicBezTo>
                  <a:cubicBezTo>
                    <a:pt x="225" y="214"/>
                    <a:pt x="239" y="243"/>
                    <a:pt x="239" y="279"/>
                  </a:cubicBezTo>
                  <a:cubicBezTo>
                    <a:pt x="239" y="314"/>
                    <a:pt x="228" y="344"/>
                    <a:pt x="205" y="367"/>
                  </a:cubicBezTo>
                  <a:cubicBezTo>
                    <a:pt x="184" y="389"/>
                    <a:pt x="158" y="400"/>
                    <a:pt x="127" y="400"/>
                  </a:cubicBezTo>
                  <a:cubicBezTo>
                    <a:pt x="111" y="400"/>
                    <a:pt x="96" y="397"/>
                    <a:pt x="82" y="391"/>
                  </a:cubicBezTo>
                  <a:cubicBezTo>
                    <a:pt x="76" y="388"/>
                    <a:pt x="66" y="383"/>
                    <a:pt x="52" y="374"/>
                  </a:cubicBezTo>
                  <a:cubicBezTo>
                    <a:pt x="48" y="372"/>
                    <a:pt x="44" y="370"/>
                    <a:pt x="40" y="370"/>
                  </a:cubicBezTo>
                  <a:cubicBezTo>
                    <a:pt x="34" y="370"/>
                    <a:pt x="30" y="373"/>
                    <a:pt x="26" y="378"/>
                  </a:cubicBezTo>
                  <a:cubicBezTo>
                    <a:pt x="24" y="381"/>
                    <a:pt x="21" y="385"/>
                    <a:pt x="18" y="391"/>
                  </a:cubicBezTo>
                  <a:cubicBezTo>
                    <a:pt x="0" y="391"/>
                    <a:pt x="0" y="391"/>
                    <a:pt x="0" y="391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5" y="287"/>
                    <a:pt x="35" y="314"/>
                    <a:pt x="46" y="332"/>
                  </a:cubicBezTo>
                  <a:cubicBezTo>
                    <a:pt x="66" y="364"/>
                    <a:pt x="92" y="379"/>
                    <a:pt x="124" y="379"/>
                  </a:cubicBezTo>
                  <a:cubicBezTo>
                    <a:pt x="143" y="379"/>
                    <a:pt x="159" y="374"/>
                    <a:pt x="171" y="363"/>
                  </a:cubicBezTo>
                  <a:cubicBezTo>
                    <a:pt x="187" y="348"/>
                    <a:pt x="195" y="329"/>
                    <a:pt x="195" y="304"/>
                  </a:cubicBezTo>
                  <a:cubicBezTo>
                    <a:pt x="195" y="275"/>
                    <a:pt x="183" y="253"/>
                    <a:pt x="158" y="239"/>
                  </a:cubicBezTo>
                  <a:cubicBezTo>
                    <a:pt x="150" y="234"/>
                    <a:pt x="129" y="226"/>
                    <a:pt x="94" y="214"/>
                  </a:cubicBezTo>
                  <a:cubicBezTo>
                    <a:pt x="69" y="206"/>
                    <a:pt x="49" y="195"/>
                    <a:pt x="35" y="183"/>
                  </a:cubicBezTo>
                  <a:cubicBezTo>
                    <a:pt x="14" y="164"/>
                    <a:pt x="3" y="139"/>
                    <a:pt x="3" y="107"/>
                  </a:cubicBezTo>
                  <a:cubicBezTo>
                    <a:pt x="3" y="72"/>
                    <a:pt x="15" y="45"/>
                    <a:pt x="38" y="25"/>
                  </a:cubicBezTo>
                  <a:cubicBezTo>
                    <a:pt x="56" y="8"/>
                    <a:pt x="79" y="0"/>
                    <a:pt x="105" y="0"/>
                  </a:cubicBezTo>
                  <a:cubicBezTo>
                    <a:pt x="119" y="0"/>
                    <a:pt x="134" y="2"/>
                    <a:pt x="148" y="8"/>
                  </a:cubicBezTo>
                  <a:cubicBezTo>
                    <a:pt x="153" y="10"/>
                    <a:pt x="162" y="15"/>
                    <a:pt x="175" y="23"/>
                  </a:cubicBezTo>
                  <a:cubicBezTo>
                    <a:pt x="179" y="25"/>
                    <a:pt x="182" y="26"/>
                    <a:pt x="185" y="26"/>
                  </a:cubicBezTo>
                  <a:cubicBezTo>
                    <a:pt x="191" y="26"/>
                    <a:pt x="197" y="20"/>
                    <a:pt x="203" y="8"/>
                  </a:cubicBezTo>
                  <a:cubicBezTo>
                    <a:pt x="219" y="8"/>
                    <a:pt x="219" y="8"/>
                    <a:pt x="219" y="8"/>
                  </a:cubicBezTo>
                  <a:cubicBezTo>
                    <a:pt x="219" y="134"/>
                    <a:pt x="219" y="134"/>
                    <a:pt x="219" y="134"/>
                  </a:cubicBezTo>
                  <a:lnTo>
                    <a:pt x="202" y="134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878" y="4386"/>
              <a:ext cx="149" cy="211"/>
            </a:xfrm>
            <a:custGeom>
              <a:avLst/>
              <a:gdLst>
                <a:gd name="T0" fmla="*/ 0 w 258"/>
                <a:gd name="T1" fmla="*/ 0 h 367"/>
                <a:gd name="T2" fmla="*/ 119 w 258"/>
                <a:gd name="T3" fmla="*/ 0 h 367"/>
                <a:gd name="T4" fmla="*/ 119 w 258"/>
                <a:gd name="T5" fmla="*/ 18 h 367"/>
                <a:gd name="T6" fmla="*/ 109 w 258"/>
                <a:gd name="T7" fmla="*/ 18 h 367"/>
                <a:gd name="T8" fmla="*/ 86 w 258"/>
                <a:gd name="T9" fmla="*/ 30 h 367"/>
                <a:gd name="T10" fmla="*/ 90 w 258"/>
                <a:gd name="T11" fmla="*/ 46 h 367"/>
                <a:gd name="T12" fmla="*/ 147 w 258"/>
                <a:gd name="T13" fmla="*/ 196 h 367"/>
                <a:gd name="T14" fmla="*/ 197 w 258"/>
                <a:gd name="T15" fmla="*/ 57 h 367"/>
                <a:gd name="T16" fmla="*/ 202 w 258"/>
                <a:gd name="T17" fmla="*/ 34 h 367"/>
                <a:gd name="T18" fmla="*/ 177 w 258"/>
                <a:gd name="T19" fmla="*/ 18 h 367"/>
                <a:gd name="T20" fmla="*/ 164 w 258"/>
                <a:gd name="T21" fmla="*/ 18 h 367"/>
                <a:gd name="T22" fmla="*/ 164 w 258"/>
                <a:gd name="T23" fmla="*/ 0 h 367"/>
                <a:gd name="T24" fmla="*/ 258 w 258"/>
                <a:gd name="T25" fmla="*/ 0 h 367"/>
                <a:gd name="T26" fmla="*/ 258 w 258"/>
                <a:gd name="T27" fmla="*/ 18 h 367"/>
                <a:gd name="T28" fmla="*/ 252 w 258"/>
                <a:gd name="T29" fmla="*/ 18 h 367"/>
                <a:gd name="T30" fmla="*/ 235 w 258"/>
                <a:gd name="T31" fmla="*/ 26 h 367"/>
                <a:gd name="T32" fmla="*/ 226 w 258"/>
                <a:gd name="T33" fmla="*/ 44 h 367"/>
                <a:gd name="T34" fmla="*/ 131 w 258"/>
                <a:gd name="T35" fmla="*/ 299 h 367"/>
                <a:gd name="T36" fmla="*/ 101 w 258"/>
                <a:gd name="T37" fmla="*/ 351 h 367"/>
                <a:gd name="T38" fmla="*/ 60 w 258"/>
                <a:gd name="T39" fmla="*/ 367 h 367"/>
                <a:gd name="T40" fmla="*/ 25 w 258"/>
                <a:gd name="T41" fmla="*/ 355 h 367"/>
                <a:gd name="T42" fmla="*/ 7 w 258"/>
                <a:gd name="T43" fmla="*/ 318 h 367"/>
                <a:gd name="T44" fmla="*/ 15 w 258"/>
                <a:gd name="T45" fmla="*/ 295 h 367"/>
                <a:gd name="T46" fmla="*/ 38 w 258"/>
                <a:gd name="T47" fmla="*/ 285 h 367"/>
                <a:gd name="T48" fmla="*/ 62 w 258"/>
                <a:gd name="T49" fmla="*/ 296 h 367"/>
                <a:gd name="T50" fmla="*/ 67 w 258"/>
                <a:gd name="T51" fmla="*/ 313 h 367"/>
                <a:gd name="T52" fmla="*/ 58 w 258"/>
                <a:gd name="T53" fmla="*/ 334 h 367"/>
                <a:gd name="T54" fmla="*/ 43 w 258"/>
                <a:gd name="T55" fmla="*/ 341 h 367"/>
                <a:gd name="T56" fmla="*/ 61 w 258"/>
                <a:gd name="T57" fmla="*/ 348 h 367"/>
                <a:gd name="T58" fmla="*/ 90 w 258"/>
                <a:gd name="T59" fmla="*/ 335 h 367"/>
                <a:gd name="T60" fmla="*/ 115 w 258"/>
                <a:gd name="T61" fmla="*/ 284 h 367"/>
                <a:gd name="T62" fmla="*/ 121 w 258"/>
                <a:gd name="T63" fmla="*/ 266 h 367"/>
                <a:gd name="T64" fmla="*/ 42 w 258"/>
                <a:gd name="T65" fmla="*/ 55 h 367"/>
                <a:gd name="T66" fmla="*/ 27 w 258"/>
                <a:gd name="T67" fmla="*/ 24 h 367"/>
                <a:gd name="T68" fmla="*/ 4 w 258"/>
                <a:gd name="T69" fmla="*/ 18 h 367"/>
                <a:gd name="T70" fmla="*/ 0 w 258"/>
                <a:gd name="T71" fmla="*/ 18 h 367"/>
                <a:gd name="T72" fmla="*/ 0 w 258"/>
                <a:gd name="T7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58" h="367">
                  <a:moveTo>
                    <a:pt x="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93" y="18"/>
                    <a:pt x="86" y="22"/>
                    <a:pt x="86" y="30"/>
                  </a:cubicBezTo>
                  <a:cubicBezTo>
                    <a:pt x="86" y="34"/>
                    <a:pt x="87" y="39"/>
                    <a:pt x="90" y="46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200" y="47"/>
                    <a:pt x="202" y="39"/>
                    <a:pt x="202" y="34"/>
                  </a:cubicBezTo>
                  <a:cubicBezTo>
                    <a:pt x="202" y="23"/>
                    <a:pt x="194" y="18"/>
                    <a:pt x="177" y="18"/>
                  </a:cubicBezTo>
                  <a:cubicBezTo>
                    <a:pt x="164" y="18"/>
                    <a:pt x="164" y="18"/>
                    <a:pt x="164" y="18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58" y="18"/>
                    <a:pt x="258" y="18"/>
                    <a:pt x="258" y="18"/>
                  </a:cubicBezTo>
                  <a:cubicBezTo>
                    <a:pt x="252" y="18"/>
                    <a:pt x="252" y="18"/>
                    <a:pt x="252" y="18"/>
                  </a:cubicBezTo>
                  <a:cubicBezTo>
                    <a:pt x="245" y="18"/>
                    <a:pt x="240" y="20"/>
                    <a:pt x="235" y="26"/>
                  </a:cubicBezTo>
                  <a:cubicBezTo>
                    <a:pt x="232" y="29"/>
                    <a:pt x="229" y="36"/>
                    <a:pt x="226" y="44"/>
                  </a:cubicBezTo>
                  <a:cubicBezTo>
                    <a:pt x="131" y="299"/>
                    <a:pt x="131" y="299"/>
                    <a:pt x="131" y="299"/>
                  </a:cubicBezTo>
                  <a:cubicBezTo>
                    <a:pt x="122" y="323"/>
                    <a:pt x="112" y="340"/>
                    <a:pt x="101" y="351"/>
                  </a:cubicBezTo>
                  <a:cubicBezTo>
                    <a:pt x="90" y="362"/>
                    <a:pt x="76" y="367"/>
                    <a:pt x="60" y="367"/>
                  </a:cubicBezTo>
                  <a:cubicBezTo>
                    <a:pt x="46" y="367"/>
                    <a:pt x="34" y="363"/>
                    <a:pt x="25" y="355"/>
                  </a:cubicBezTo>
                  <a:cubicBezTo>
                    <a:pt x="13" y="345"/>
                    <a:pt x="7" y="333"/>
                    <a:pt x="7" y="318"/>
                  </a:cubicBezTo>
                  <a:cubicBezTo>
                    <a:pt x="7" y="309"/>
                    <a:pt x="10" y="301"/>
                    <a:pt x="15" y="295"/>
                  </a:cubicBezTo>
                  <a:cubicBezTo>
                    <a:pt x="21" y="288"/>
                    <a:pt x="28" y="285"/>
                    <a:pt x="38" y="285"/>
                  </a:cubicBezTo>
                  <a:cubicBezTo>
                    <a:pt x="49" y="285"/>
                    <a:pt x="57" y="289"/>
                    <a:pt x="62" y="296"/>
                  </a:cubicBezTo>
                  <a:cubicBezTo>
                    <a:pt x="66" y="301"/>
                    <a:pt x="67" y="306"/>
                    <a:pt x="67" y="313"/>
                  </a:cubicBezTo>
                  <a:cubicBezTo>
                    <a:pt x="67" y="321"/>
                    <a:pt x="64" y="328"/>
                    <a:pt x="58" y="334"/>
                  </a:cubicBezTo>
                  <a:cubicBezTo>
                    <a:pt x="54" y="337"/>
                    <a:pt x="49" y="340"/>
                    <a:pt x="43" y="341"/>
                  </a:cubicBezTo>
                  <a:cubicBezTo>
                    <a:pt x="48" y="345"/>
                    <a:pt x="53" y="348"/>
                    <a:pt x="61" y="348"/>
                  </a:cubicBezTo>
                  <a:cubicBezTo>
                    <a:pt x="72" y="348"/>
                    <a:pt x="82" y="343"/>
                    <a:pt x="90" y="335"/>
                  </a:cubicBezTo>
                  <a:cubicBezTo>
                    <a:pt x="97" y="327"/>
                    <a:pt x="106" y="310"/>
                    <a:pt x="115" y="284"/>
                  </a:cubicBezTo>
                  <a:cubicBezTo>
                    <a:pt x="121" y="266"/>
                    <a:pt x="121" y="266"/>
                    <a:pt x="121" y="266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36" y="38"/>
                    <a:pt x="31" y="28"/>
                    <a:pt x="27" y="24"/>
                  </a:cubicBezTo>
                  <a:cubicBezTo>
                    <a:pt x="21" y="20"/>
                    <a:pt x="14" y="18"/>
                    <a:pt x="4" y="18"/>
                  </a:cubicBezTo>
                  <a:cubicBezTo>
                    <a:pt x="0" y="18"/>
                    <a:pt x="0" y="18"/>
                    <a:pt x="0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029" y="4382"/>
              <a:ext cx="106" cy="159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9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7 w 184"/>
                <a:gd name="T21" fmla="*/ 255 h 275"/>
                <a:gd name="T22" fmla="*/ 98 w 184"/>
                <a:gd name="T23" fmla="*/ 275 h 275"/>
                <a:gd name="T24" fmla="*/ 60 w 184"/>
                <a:gd name="T25" fmla="*/ 268 h 275"/>
                <a:gd name="T26" fmla="*/ 34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2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70 w 184"/>
                <a:gd name="T51" fmla="*/ 149 h 275"/>
                <a:gd name="T52" fmla="*/ 28 w 184"/>
                <a:gd name="T53" fmla="*/ 128 h 275"/>
                <a:gd name="T54" fmla="*/ 3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3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2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7" y="80"/>
                    <a:pt x="58" y="88"/>
                  </a:cubicBezTo>
                  <a:cubicBezTo>
                    <a:pt x="64" y="92"/>
                    <a:pt x="74" y="96"/>
                    <a:pt x="89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7" y="255"/>
                  </a:cubicBezTo>
                  <a:cubicBezTo>
                    <a:pt x="141" y="269"/>
                    <a:pt x="122" y="275"/>
                    <a:pt x="98" y="275"/>
                  </a:cubicBezTo>
                  <a:cubicBezTo>
                    <a:pt x="84" y="275"/>
                    <a:pt x="71" y="273"/>
                    <a:pt x="60" y="268"/>
                  </a:cubicBezTo>
                  <a:cubicBezTo>
                    <a:pt x="55" y="266"/>
                    <a:pt x="46" y="262"/>
                    <a:pt x="34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3" y="196"/>
                    <a:pt x="30" y="214"/>
                    <a:pt x="37" y="224"/>
                  </a:cubicBezTo>
                  <a:cubicBezTo>
                    <a:pt x="44" y="234"/>
                    <a:pt x="53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2" y="242"/>
                  </a:cubicBezTo>
                  <a:cubicBezTo>
                    <a:pt x="140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70" y="149"/>
                  </a:cubicBezTo>
                  <a:cubicBezTo>
                    <a:pt x="53" y="144"/>
                    <a:pt x="39" y="137"/>
                    <a:pt x="28" y="128"/>
                  </a:cubicBezTo>
                  <a:cubicBezTo>
                    <a:pt x="11" y="115"/>
                    <a:pt x="3" y="97"/>
                    <a:pt x="3" y="72"/>
                  </a:cubicBezTo>
                  <a:cubicBezTo>
                    <a:pt x="3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1" y="19"/>
                    <a:pt x="143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1139" y="4328"/>
              <a:ext cx="101" cy="213"/>
            </a:xfrm>
            <a:custGeom>
              <a:avLst/>
              <a:gdLst>
                <a:gd name="T0" fmla="*/ 90 w 176"/>
                <a:gd name="T1" fmla="*/ 119 h 369"/>
                <a:gd name="T2" fmla="*/ 90 w 176"/>
                <a:gd name="T3" fmla="*/ 278 h 369"/>
                <a:gd name="T4" fmla="*/ 94 w 176"/>
                <a:gd name="T5" fmla="*/ 323 h 369"/>
                <a:gd name="T6" fmla="*/ 122 w 176"/>
                <a:gd name="T7" fmla="*/ 345 h 369"/>
                <a:gd name="T8" fmla="*/ 149 w 176"/>
                <a:gd name="T9" fmla="*/ 326 h 369"/>
                <a:gd name="T10" fmla="*/ 157 w 176"/>
                <a:gd name="T11" fmla="*/ 281 h 369"/>
                <a:gd name="T12" fmla="*/ 157 w 176"/>
                <a:gd name="T13" fmla="*/ 273 h 369"/>
                <a:gd name="T14" fmla="*/ 176 w 176"/>
                <a:gd name="T15" fmla="*/ 273 h 369"/>
                <a:gd name="T16" fmla="*/ 176 w 176"/>
                <a:gd name="T17" fmla="*/ 284 h 369"/>
                <a:gd name="T18" fmla="*/ 159 w 176"/>
                <a:gd name="T19" fmla="*/ 347 h 369"/>
                <a:gd name="T20" fmla="*/ 108 w 176"/>
                <a:gd name="T21" fmla="*/ 369 h 369"/>
                <a:gd name="T22" fmla="*/ 58 w 176"/>
                <a:gd name="T23" fmla="*/ 350 h 369"/>
                <a:gd name="T24" fmla="*/ 43 w 176"/>
                <a:gd name="T25" fmla="*/ 315 h 369"/>
                <a:gd name="T26" fmla="*/ 42 w 176"/>
                <a:gd name="T27" fmla="*/ 278 h 369"/>
                <a:gd name="T28" fmla="*/ 42 w 176"/>
                <a:gd name="T29" fmla="*/ 119 h 369"/>
                <a:gd name="T30" fmla="*/ 0 w 176"/>
                <a:gd name="T31" fmla="*/ 119 h 369"/>
                <a:gd name="T32" fmla="*/ 0 w 176"/>
                <a:gd name="T33" fmla="*/ 103 h 369"/>
                <a:gd name="T34" fmla="*/ 54 w 176"/>
                <a:gd name="T35" fmla="*/ 72 h 369"/>
                <a:gd name="T36" fmla="*/ 74 w 176"/>
                <a:gd name="T37" fmla="*/ 0 h 369"/>
                <a:gd name="T38" fmla="*/ 90 w 176"/>
                <a:gd name="T39" fmla="*/ 0 h 369"/>
                <a:gd name="T40" fmla="*/ 90 w 176"/>
                <a:gd name="T41" fmla="*/ 100 h 369"/>
                <a:gd name="T42" fmla="*/ 167 w 176"/>
                <a:gd name="T43" fmla="*/ 100 h 369"/>
                <a:gd name="T44" fmla="*/ 167 w 176"/>
                <a:gd name="T45" fmla="*/ 119 h 369"/>
                <a:gd name="T46" fmla="*/ 90 w 176"/>
                <a:gd name="T47" fmla="*/ 11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6" h="369">
                  <a:moveTo>
                    <a:pt x="90" y="119"/>
                  </a:moveTo>
                  <a:cubicBezTo>
                    <a:pt x="90" y="278"/>
                    <a:pt x="90" y="278"/>
                    <a:pt x="90" y="278"/>
                  </a:cubicBezTo>
                  <a:cubicBezTo>
                    <a:pt x="90" y="299"/>
                    <a:pt x="92" y="314"/>
                    <a:pt x="94" y="323"/>
                  </a:cubicBezTo>
                  <a:cubicBezTo>
                    <a:pt x="99" y="338"/>
                    <a:pt x="108" y="345"/>
                    <a:pt x="122" y="345"/>
                  </a:cubicBezTo>
                  <a:cubicBezTo>
                    <a:pt x="134" y="345"/>
                    <a:pt x="143" y="339"/>
                    <a:pt x="149" y="326"/>
                  </a:cubicBezTo>
                  <a:cubicBezTo>
                    <a:pt x="154" y="314"/>
                    <a:pt x="157" y="299"/>
                    <a:pt x="157" y="281"/>
                  </a:cubicBezTo>
                  <a:cubicBezTo>
                    <a:pt x="157" y="273"/>
                    <a:pt x="157" y="273"/>
                    <a:pt x="157" y="273"/>
                  </a:cubicBezTo>
                  <a:cubicBezTo>
                    <a:pt x="176" y="273"/>
                    <a:pt x="176" y="273"/>
                    <a:pt x="176" y="273"/>
                  </a:cubicBezTo>
                  <a:cubicBezTo>
                    <a:pt x="176" y="284"/>
                    <a:pt x="176" y="284"/>
                    <a:pt x="176" y="284"/>
                  </a:cubicBezTo>
                  <a:cubicBezTo>
                    <a:pt x="176" y="310"/>
                    <a:pt x="170" y="331"/>
                    <a:pt x="159" y="347"/>
                  </a:cubicBezTo>
                  <a:cubicBezTo>
                    <a:pt x="148" y="362"/>
                    <a:pt x="131" y="369"/>
                    <a:pt x="108" y="369"/>
                  </a:cubicBezTo>
                  <a:cubicBezTo>
                    <a:pt x="85" y="369"/>
                    <a:pt x="69" y="363"/>
                    <a:pt x="58" y="350"/>
                  </a:cubicBezTo>
                  <a:cubicBezTo>
                    <a:pt x="50" y="340"/>
                    <a:pt x="45" y="329"/>
                    <a:pt x="43" y="315"/>
                  </a:cubicBezTo>
                  <a:cubicBezTo>
                    <a:pt x="42" y="305"/>
                    <a:pt x="42" y="293"/>
                    <a:pt x="42" y="278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27" y="97"/>
                    <a:pt x="45" y="86"/>
                    <a:pt x="54" y="72"/>
                  </a:cubicBezTo>
                  <a:cubicBezTo>
                    <a:pt x="64" y="57"/>
                    <a:pt x="71" y="33"/>
                    <a:pt x="74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167" y="100"/>
                    <a:pt x="167" y="100"/>
                    <a:pt x="167" y="100"/>
                  </a:cubicBezTo>
                  <a:cubicBezTo>
                    <a:pt x="167" y="119"/>
                    <a:pt x="167" y="119"/>
                    <a:pt x="167" y="119"/>
                  </a:cubicBezTo>
                  <a:lnTo>
                    <a:pt x="90" y="11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1250" y="4381"/>
              <a:ext cx="120" cy="161"/>
            </a:xfrm>
            <a:custGeom>
              <a:avLst/>
              <a:gdLst>
                <a:gd name="T0" fmla="*/ 210 w 210"/>
                <a:gd name="T1" fmla="*/ 138 h 280"/>
                <a:gd name="T2" fmla="*/ 53 w 210"/>
                <a:gd name="T3" fmla="*/ 138 h 280"/>
                <a:gd name="T4" fmla="*/ 65 w 210"/>
                <a:gd name="T5" fmla="*/ 220 h 280"/>
                <a:gd name="T6" fmla="*/ 119 w 210"/>
                <a:gd name="T7" fmla="*/ 257 h 280"/>
                <a:gd name="T8" fmla="*/ 168 w 210"/>
                <a:gd name="T9" fmla="*/ 234 h 280"/>
                <a:gd name="T10" fmla="*/ 190 w 210"/>
                <a:gd name="T11" fmla="*/ 198 h 280"/>
                <a:gd name="T12" fmla="*/ 207 w 210"/>
                <a:gd name="T13" fmla="*/ 207 h 280"/>
                <a:gd name="T14" fmla="*/ 110 w 210"/>
                <a:gd name="T15" fmla="*/ 280 h 280"/>
                <a:gd name="T16" fmla="*/ 36 w 210"/>
                <a:gd name="T17" fmla="*/ 249 h 280"/>
                <a:gd name="T18" fmla="*/ 0 w 210"/>
                <a:gd name="T19" fmla="*/ 138 h 280"/>
                <a:gd name="T20" fmla="*/ 36 w 210"/>
                <a:gd name="T21" fmla="*/ 31 h 280"/>
                <a:gd name="T22" fmla="*/ 104 w 210"/>
                <a:gd name="T23" fmla="*/ 0 h 280"/>
                <a:gd name="T24" fmla="*/ 193 w 210"/>
                <a:gd name="T25" fmla="*/ 59 h 280"/>
                <a:gd name="T26" fmla="*/ 210 w 210"/>
                <a:gd name="T27" fmla="*/ 138 h 280"/>
                <a:gd name="T28" fmla="*/ 157 w 210"/>
                <a:gd name="T29" fmla="*/ 118 h 280"/>
                <a:gd name="T30" fmla="*/ 150 w 210"/>
                <a:gd name="T31" fmla="*/ 60 h 280"/>
                <a:gd name="T32" fmla="*/ 107 w 210"/>
                <a:gd name="T33" fmla="*/ 20 h 280"/>
                <a:gd name="T34" fmla="*/ 60 w 210"/>
                <a:gd name="T35" fmla="*/ 69 h 280"/>
                <a:gd name="T36" fmla="*/ 54 w 210"/>
                <a:gd name="T37" fmla="*/ 118 h 280"/>
                <a:gd name="T38" fmla="*/ 157 w 210"/>
                <a:gd name="T39" fmla="*/ 1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0" h="280">
                  <a:moveTo>
                    <a:pt x="210" y="138"/>
                  </a:moveTo>
                  <a:cubicBezTo>
                    <a:pt x="53" y="138"/>
                    <a:pt x="53" y="138"/>
                    <a:pt x="53" y="138"/>
                  </a:cubicBezTo>
                  <a:cubicBezTo>
                    <a:pt x="54" y="175"/>
                    <a:pt x="58" y="202"/>
                    <a:pt x="65" y="220"/>
                  </a:cubicBezTo>
                  <a:cubicBezTo>
                    <a:pt x="75" y="245"/>
                    <a:pt x="93" y="257"/>
                    <a:pt x="119" y="257"/>
                  </a:cubicBezTo>
                  <a:cubicBezTo>
                    <a:pt x="139" y="257"/>
                    <a:pt x="155" y="249"/>
                    <a:pt x="168" y="234"/>
                  </a:cubicBezTo>
                  <a:cubicBezTo>
                    <a:pt x="176" y="225"/>
                    <a:pt x="183" y="213"/>
                    <a:pt x="190" y="198"/>
                  </a:cubicBezTo>
                  <a:cubicBezTo>
                    <a:pt x="207" y="207"/>
                    <a:pt x="207" y="207"/>
                    <a:pt x="207" y="207"/>
                  </a:cubicBezTo>
                  <a:cubicBezTo>
                    <a:pt x="183" y="256"/>
                    <a:pt x="151" y="280"/>
                    <a:pt x="110" y="280"/>
                  </a:cubicBezTo>
                  <a:cubicBezTo>
                    <a:pt x="80" y="280"/>
                    <a:pt x="55" y="269"/>
                    <a:pt x="36" y="249"/>
                  </a:cubicBezTo>
                  <a:cubicBezTo>
                    <a:pt x="12" y="223"/>
                    <a:pt x="0" y="186"/>
                    <a:pt x="0" y="138"/>
                  </a:cubicBezTo>
                  <a:cubicBezTo>
                    <a:pt x="0" y="94"/>
                    <a:pt x="12" y="58"/>
                    <a:pt x="36" y="31"/>
                  </a:cubicBezTo>
                  <a:cubicBezTo>
                    <a:pt x="55" y="10"/>
                    <a:pt x="77" y="0"/>
                    <a:pt x="104" y="0"/>
                  </a:cubicBezTo>
                  <a:cubicBezTo>
                    <a:pt x="143" y="0"/>
                    <a:pt x="173" y="19"/>
                    <a:pt x="193" y="59"/>
                  </a:cubicBezTo>
                  <a:cubicBezTo>
                    <a:pt x="203" y="80"/>
                    <a:pt x="209" y="106"/>
                    <a:pt x="210" y="138"/>
                  </a:cubicBezTo>
                  <a:close/>
                  <a:moveTo>
                    <a:pt x="157" y="118"/>
                  </a:moveTo>
                  <a:cubicBezTo>
                    <a:pt x="157" y="94"/>
                    <a:pt x="155" y="75"/>
                    <a:pt x="150" y="60"/>
                  </a:cubicBezTo>
                  <a:cubicBezTo>
                    <a:pt x="141" y="33"/>
                    <a:pt x="126" y="20"/>
                    <a:pt x="107" y="20"/>
                  </a:cubicBezTo>
                  <a:cubicBezTo>
                    <a:pt x="85" y="20"/>
                    <a:pt x="69" y="36"/>
                    <a:pt x="60" y="69"/>
                  </a:cubicBezTo>
                  <a:cubicBezTo>
                    <a:pt x="56" y="82"/>
                    <a:pt x="54" y="99"/>
                    <a:pt x="54" y="118"/>
                  </a:cubicBezTo>
                  <a:lnTo>
                    <a:pt x="157" y="118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1382" y="4382"/>
              <a:ext cx="228" cy="156"/>
            </a:xfrm>
            <a:custGeom>
              <a:avLst/>
              <a:gdLst>
                <a:gd name="T0" fmla="*/ 312 w 396"/>
                <a:gd name="T1" fmla="*/ 270 h 270"/>
                <a:gd name="T2" fmla="*/ 312 w 396"/>
                <a:gd name="T3" fmla="*/ 108 h 270"/>
                <a:gd name="T4" fmla="*/ 305 w 396"/>
                <a:gd name="T5" fmla="*/ 44 h 270"/>
                <a:gd name="T6" fmla="*/ 275 w 396"/>
                <a:gd name="T7" fmla="*/ 25 h 270"/>
                <a:gd name="T8" fmla="*/ 236 w 396"/>
                <a:gd name="T9" fmla="*/ 52 h 270"/>
                <a:gd name="T10" fmla="*/ 225 w 396"/>
                <a:gd name="T11" fmla="*/ 84 h 270"/>
                <a:gd name="T12" fmla="*/ 223 w 396"/>
                <a:gd name="T13" fmla="*/ 134 h 270"/>
                <a:gd name="T14" fmla="*/ 223 w 396"/>
                <a:gd name="T15" fmla="*/ 205 h 270"/>
                <a:gd name="T16" fmla="*/ 230 w 396"/>
                <a:gd name="T17" fmla="*/ 245 h 270"/>
                <a:gd name="T18" fmla="*/ 252 w 396"/>
                <a:gd name="T19" fmla="*/ 252 h 270"/>
                <a:gd name="T20" fmla="*/ 261 w 396"/>
                <a:gd name="T21" fmla="*/ 252 h 270"/>
                <a:gd name="T22" fmla="*/ 261 w 396"/>
                <a:gd name="T23" fmla="*/ 270 h 270"/>
                <a:gd name="T24" fmla="*/ 175 w 396"/>
                <a:gd name="T25" fmla="*/ 270 h 270"/>
                <a:gd name="T26" fmla="*/ 175 w 396"/>
                <a:gd name="T27" fmla="*/ 117 h 270"/>
                <a:gd name="T28" fmla="*/ 173 w 396"/>
                <a:gd name="T29" fmla="*/ 66 h 270"/>
                <a:gd name="T30" fmla="*/ 137 w 396"/>
                <a:gd name="T31" fmla="*/ 25 h 270"/>
                <a:gd name="T32" fmla="*/ 99 w 396"/>
                <a:gd name="T33" fmla="*/ 53 h 270"/>
                <a:gd name="T34" fmla="*/ 89 w 396"/>
                <a:gd name="T35" fmla="*/ 81 h 270"/>
                <a:gd name="T36" fmla="*/ 86 w 396"/>
                <a:gd name="T37" fmla="*/ 134 h 270"/>
                <a:gd name="T38" fmla="*/ 86 w 396"/>
                <a:gd name="T39" fmla="*/ 205 h 270"/>
                <a:gd name="T40" fmla="*/ 93 w 396"/>
                <a:gd name="T41" fmla="*/ 245 h 270"/>
                <a:gd name="T42" fmla="*/ 116 w 396"/>
                <a:gd name="T43" fmla="*/ 252 h 270"/>
                <a:gd name="T44" fmla="*/ 124 w 396"/>
                <a:gd name="T45" fmla="*/ 252 h 270"/>
                <a:gd name="T46" fmla="*/ 124 w 396"/>
                <a:gd name="T47" fmla="*/ 270 h 270"/>
                <a:gd name="T48" fmla="*/ 0 w 396"/>
                <a:gd name="T49" fmla="*/ 270 h 270"/>
                <a:gd name="T50" fmla="*/ 0 w 396"/>
                <a:gd name="T51" fmla="*/ 252 h 270"/>
                <a:gd name="T52" fmla="*/ 9 w 396"/>
                <a:gd name="T53" fmla="*/ 252 h 270"/>
                <a:gd name="T54" fmla="*/ 31 w 396"/>
                <a:gd name="T55" fmla="*/ 245 h 270"/>
                <a:gd name="T56" fmla="*/ 38 w 396"/>
                <a:gd name="T57" fmla="*/ 205 h 270"/>
                <a:gd name="T58" fmla="*/ 38 w 396"/>
                <a:gd name="T59" fmla="*/ 69 h 270"/>
                <a:gd name="T60" fmla="*/ 31 w 396"/>
                <a:gd name="T61" fmla="*/ 30 h 270"/>
                <a:gd name="T62" fmla="*/ 9 w 396"/>
                <a:gd name="T63" fmla="*/ 24 h 270"/>
                <a:gd name="T64" fmla="*/ 2 w 396"/>
                <a:gd name="T65" fmla="*/ 24 h 270"/>
                <a:gd name="T66" fmla="*/ 2 w 396"/>
                <a:gd name="T67" fmla="*/ 6 h 270"/>
                <a:gd name="T68" fmla="*/ 83 w 396"/>
                <a:gd name="T69" fmla="*/ 2 h 270"/>
                <a:gd name="T70" fmla="*/ 83 w 396"/>
                <a:gd name="T71" fmla="*/ 49 h 270"/>
                <a:gd name="T72" fmla="*/ 99 w 396"/>
                <a:gd name="T73" fmla="*/ 23 h 270"/>
                <a:gd name="T74" fmla="*/ 150 w 396"/>
                <a:gd name="T75" fmla="*/ 0 h 270"/>
                <a:gd name="T76" fmla="*/ 217 w 396"/>
                <a:gd name="T77" fmla="*/ 52 h 270"/>
                <a:gd name="T78" fmla="*/ 288 w 396"/>
                <a:gd name="T79" fmla="*/ 0 h 270"/>
                <a:gd name="T80" fmla="*/ 346 w 396"/>
                <a:gd name="T81" fmla="*/ 30 h 270"/>
                <a:gd name="T82" fmla="*/ 358 w 396"/>
                <a:gd name="T83" fmla="*/ 66 h 270"/>
                <a:gd name="T84" fmla="*/ 360 w 396"/>
                <a:gd name="T85" fmla="*/ 102 h 270"/>
                <a:gd name="T86" fmla="*/ 360 w 396"/>
                <a:gd name="T87" fmla="*/ 205 h 270"/>
                <a:gd name="T88" fmla="*/ 367 w 396"/>
                <a:gd name="T89" fmla="*/ 245 h 270"/>
                <a:gd name="T90" fmla="*/ 389 w 396"/>
                <a:gd name="T91" fmla="*/ 252 h 270"/>
                <a:gd name="T92" fmla="*/ 396 w 396"/>
                <a:gd name="T93" fmla="*/ 252 h 270"/>
                <a:gd name="T94" fmla="*/ 396 w 396"/>
                <a:gd name="T95" fmla="*/ 270 h 270"/>
                <a:gd name="T96" fmla="*/ 312 w 396"/>
                <a:gd name="T97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6" h="270">
                  <a:moveTo>
                    <a:pt x="312" y="270"/>
                  </a:moveTo>
                  <a:cubicBezTo>
                    <a:pt x="312" y="108"/>
                    <a:pt x="312" y="108"/>
                    <a:pt x="312" y="108"/>
                  </a:cubicBezTo>
                  <a:cubicBezTo>
                    <a:pt x="312" y="75"/>
                    <a:pt x="309" y="54"/>
                    <a:pt x="305" y="44"/>
                  </a:cubicBezTo>
                  <a:cubicBezTo>
                    <a:pt x="298" y="31"/>
                    <a:pt x="288" y="25"/>
                    <a:pt x="275" y="25"/>
                  </a:cubicBezTo>
                  <a:cubicBezTo>
                    <a:pt x="259" y="25"/>
                    <a:pt x="246" y="34"/>
                    <a:pt x="236" y="52"/>
                  </a:cubicBezTo>
                  <a:cubicBezTo>
                    <a:pt x="231" y="62"/>
                    <a:pt x="227" y="73"/>
                    <a:pt x="225" y="84"/>
                  </a:cubicBezTo>
                  <a:cubicBezTo>
                    <a:pt x="224" y="93"/>
                    <a:pt x="223" y="109"/>
                    <a:pt x="223" y="134"/>
                  </a:cubicBezTo>
                  <a:cubicBezTo>
                    <a:pt x="223" y="205"/>
                    <a:pt x="223" y="205"/>
                    <a:pt x="223" y="205"/>
                  </a:cubicBezTo>
                  <a:cubicBezTo>
                    <a:pt x="223" y="226"/>
                    <a:pt x="226" y="240"/>
                    <a:pt x="230" y="245"/>
                  </a:cubicBezTo>
                  <a:cubicBezTo>
                    <a:pt x="234" y="250"/>
                    <a:pt x="242" y="252"/>
                    <a:pt x="252" y="252"/>
                  </a:cubicBezTo>
                  <a:cubicBezTo>
                    <a:pt x="261" y="252"/>
                    <a:pt x="261" y="252"/>
                    <a:pt x="261" y="252"/>
                  </a:cubicBezTo>
                  <a:cubicBezTo>
                    <a:pt x="261" y="270"/>
                    <a:pt x="261" y="270"/>
                    <a:pt x="261" y="270"/>
                  </a:cubicBezTo>
                  <a:cubicBezTo>
                    <a:pt x="175" y="270"/>
                    <a:pt x="175" y="270"/>
                    <a:pt x="175" y="270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91"/>
                    <a:pt x="174" y="74"/>
                    <a:pt x="173" y="66"/>
                  </a:cubicBezTo>
                  <a:cubicBezTo>
                    <a:pt x="169" y="39"/>
                    <a:pt x="157" y="25"/>
                    <a:pt x="137" y="25"/>
                  </a:cubicBezTo>
                  <a:cubicBezTo>
                    <a:pt x="121" y="25"/>
                    <a:pt x="108" y="34"/>
                    <a:pt x="99" y="53"/>
                  </a:cubicBezTo>
                  <a:cubicBezTo>
                    <a:pt x="94" y="62"/>
                    <a:pt x="91" y="71"/>
                    <a:pt x="89" y="81"/>
                  </a:cubicBezTo>
                  <a:cubicBezTo>
                    <a:pt x="87" y="91"/>
                    <a:pt x="86" y="108"/>
                    <a:pt x="86" y="134"/>
                  </a:cubicBezTo>
                  <a:cubicBezTo>
                    <a:pt x="86" y="205"/>
                    <a:pt x="86" y="205"/>
                    <a:pt x="86" y="205"/>
                  </a:cubicBezTo>
                  <a:cubicBezTo>
                    <a:pt x="86" y="227"/>
                    <a:pt x="89" y="240"/>
                    <a:pt x="93" y="245"/>
                  </a:cubicBezTo>
                  <a:cubicBezTo>
                    <a:pt x="97" y="250"/>
                    <a:pt x="105" y="252"/>
                    <a:pt x="116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4" y="270"/>
                    <a:pt x="124" y="270"/>
                    <a:pt x="124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52"/>
                    <a:pt x="0" y="252"/>
                    <a:pt x="0" y="252"/>
                  </a:cubicBezTo>
                  <a:cubicBezTo>
                    <a:pt x="9" y="252"/>
                    <a:pt x="9" y="252"/>
                    <a:pt x="9" y="252"/>
                  </a:cubicBezTo>
                  <a:cubicBezTo>
                    <a:pt x="19" y="252"/>
                    <a:pt x="27" y="250"/>
                    <a:pt x="31" y="245"/>
                  </a:cubicBezTo>
                  <a:cubicBezTo>
                    <a:pt x="36" y="240"/>
                    <a:pt x="38" y="226"/>
                    <a:pt x="38" y="205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49"/>
                    <a:pt x="36" y="36"/>
                    <a:pt x="31" y="30"/>
                  </a:cubicBezTo>
                  <a:cubicBezTo>
                    <a:pt x="27" y="26"/>
                    <a:pt x="19" y="24"/>
                    <a:pt x="9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7" y="39"/>
                    <a:pt x="92" y="31"/>
                    <a:pt x="99" y="23"/>
                  </a:cubicBezTo>
                  <a:cubicBezTo>
                    <a:pt x="113" y="8"/>
                    <a:pt x="130" y="0"/>
                    <a:pt x="150" y="0"/>
                  </a:cubicBezTo>
                  <a:cubicBezTo>
                    <a:pt x="181" y="0"/>
                    <a:pt x="203" y="18"/>
                    <a:pt x="217" y="52"/>
                  </a:cubicBezTo>
                  <a:cubicBezTo>
                    <a:pt x="234" y="18"/>
                    <a:pt x="257" y="0"/>
                    <a:pt x="288" y="0"/>
                  </a:cubicBezTo>
                  <a:cubicBezTo>
                    <a:pt x="314" y="0"/>
                    <a:pt x="333" y="10"/>
                    <a:pt x="346" y="30"/>
                  </a:cubicBezTo>
                  <a:cubicBezTo>
                    <a:pt x="353" y="41"/>
                    <a:pt x="357" y="53"/>
                    <a:pt x="358" y="66"/>
                  </a:cubicBezTo>
                  <a:cubicBezTo>
                    <a:pt x="359" y="77"/>
                    <a:pt x="360" y="89"/>
                    <a:pt x="360" y="10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60" y="226"/>
                    <a:pt x="362" y="240"/>
                    <a:pt x="367" y="245"/>
                  </a:cubicBezTo>
                  <a:cubicBezTo>
                    <a:pt x="371" y="250"/>
                    <a:pt x="378" y="252"/>
                    <a:pt x="389" y="252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96" y="270"/>
                    <a:pt x="396" y="270"/>
                    <a:pt x="396" y="270"/>
                  </a:cubicBezTo>
                  <a:lnTo>
                    <a:pt x="312" y="27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1625" y="4382"/>
              <a:ext cx="106" cy="159"/>
            </a:xfrm>
            <a:custGeom>
              <a:avLst/>
              <a:gdLst>
                <a:gd name="T0" fmla="*/ 168 w 184"/>
                <a:gd name="T1" fmla="*/ 6 h 275"/>
                <a:gd name="T2" fmla="*/ 168 w 184"/>
                <a:gd name="T3" fmla="*/ 89 h 275"/>
                <a:gd name="T4" fmla="*/ 151 w 184"/>
                <a:gd name="T5" fmla="*/ 89 h 275"/>
                <a:gd name="T6" fmla="*/ 84 w 184"/>
                <a:gd name="T7" fmla="*/ 17 h 275"/>
                <a:gd name="T8" fmla="*/ 53 w 184"/>
                <a:gd name="T9" fmla="*/ 28 h 275"/>
                <a:gd name="T10" fmla="*/ 41 w 184"/>
                <a:gd name="T11" fmla="*/ 57 h 275"/>
                <a:gd name="T12" fmla="*/ 58 w 184"/>
                <a:gd name="T13" fmla="*/ 88 h 275"/>
                <a:gd name="T14" fmla="*/ 88 w 184"/>
                <a:gd name="T15" fmla="*/ 101 h 275"/>
                <a:gd name="T16" fmla="*/ 152 w 184"/>
                <a:gd name="T17" fmla="*/ 128 h 275"/>
                <a:gd name="T18" fmla="*/ 184 w 184"/>
                <a:gd name="T19" fmla="*/ 191 h 275"/>
                <a:gd name="T20" fmla="*/ 156 w 184"/>
                <a:gd name="T21" fmla="*/ 255 h 275"/>
                <a:gd name="T22" fmla="*/ 98 w 184"/>
                <a:gd name="T23" fmla="*/ 275 h 275"/>
                <a:gd name="T24" fmla="*/ 59 w 184"/>
                <a:gd name="T25" fmla="*/ 268 h 275"/>
                <a:gd name="T26" fmla="*/ 33 w 184"/>
                <a:gd name="T27" fmla="*/ 254 h 275"/>
                <a:gd name="T28" fmla="*/ 26 w 184"/>
                <a:gd name="T29" fmla="*/ 252 h 275"/>
                <a:gd name="T30" fmla="*/ 16 w 184"/>
                <a:gd name="T31" fmla="*/ 270 h 275"/>
                <a:gd name="T32" fmla="*/ 0 w 184"/>
                <a:gd name="T33" fmla="*/ 270 h 275"/>
                <a:gd name="T34" fmla="*/ 0 w 184"/>
                <a:gd name="T35" fmla="*/ 172 h 275"/>
                <a:gd name="T36" fmla="*/ 16 w 184"/>
                <a:gd name="T37" fmla="*/ 172 h 275"/>
                <a:gd name="T38" fmla="*/ 37 w 184"/>
                <a:gd name="T39" fmla="*/ 224 h 275"/>
                <a:gd name="T40" fmla="*/ 63 w 184"/>
                <a:gd name="T41" fmla="*/ 248 h 275"/>
                <a:gd name="T42" fmla="*/ 97 w 184"/>
                <a:gd name="T43" fmla="*/ 257 h 275"/>
                <a:gd name="T44" fmla="*/ 131 w 184"/>
                <a:gd name="T45" fmla="*/ 242 h 275"/>
                <a:gd name="T46" fmla="*/ 144 w 184"/>
                <a:gd name="T47" fmla="*/ 210 h 275"/>
                <a:gd name="T48" fmla="*/ 120 w 184"/>
                <a:gd name="T49" fmla="*/ 170 h 275"/>
                <a:gd name="T50" fmla="*/ 69 w 184"/>
                <a:gd name="T51" fmla="*/ 149 h 275"/>
                <a:gd name="T52" fmla="*/ 28 w 184"/>
                <a:gd name="T53" fmla="*/ 128 h 275"/>
                <a:gd name="T54" fmla="*/ 2 w 184"/>
                <a:gd name="T55" fmla="*/ 72 h 275"/>
                <a:gd name="T56" fmla="*/ 26 w 184"/>
                <a:gd name="T57" fmla="*/ 19 h 275"/>
                <a:gd name="T58" fmla="*/ 80 w 184"/>
                <a:gd name="T59" fmla="*/ 0 h 275"/>
                <a:gd name="T60" fmla="*/ 134 w 184"/>
                <a:gd name="T61" fmla="*/ 16 h 275"/>
                <a:gd name="T62" fmla="*/ 142 w 184"/>
                <a:gd name="T63" fmla="*/ 19 h 275"/>
                <a:gd name="T64" fmla="*/ 151 w 184"/>
                <a:gd name="T65" fmla="*/ 6 h 275"/>
                <a:gd name="T66" fmla="*/ 168 w 184"/>
                <a:gd name="T67" fmla="*/ 6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4" h="275">
                  <a:moveTo>
                    <a:pt x="168" y="6"/>
                  </a:moveTo>
                  <a:cubicBezTo>
                    <a:pt x="168" y="89"/>
                    <a:pt x="168" y="89"/>
                    <a:pt x="168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41" y="41"/>
                    <a:pt x="119" y="17"/>
                    <a:pt x="84" y="17"/>
                  </a:cubicBezTo>
                  <a:cubicBezTo>
                    <a:pt x="71" y="17"/>
                    <a:pt x="61" y="21"/>
                    <a:pt x="53" y="28"/>
                  </a:cubicBezTo>
                  <a:cubicBezTo>
                    <a:pt x="45" y="36"/>
                    <a:pt x="41" y="46"/>
                    <a:pt x="41" y="57"/>
                  </a:cubicBezTo>
                  <a:cubicBezTo>
                    <a:pt x="41" y="70"/>
                    <a:pt x="46" y="80"/>
                    <a:pt x="58" y="88"/>
                  </a:cubicBezTo>
                  <a:cubicBezTo>
                    <a:pt x="63" y="92"/>
                    <a:pt x="74" y="96"/>
                    <a:pt x="88" y="101"/>
                  </a:cubicBezTo>
                  <a:cubicBezTo>
                    <a:pt x="120" y="111"/>
                    <a:pt x="142" y="120"/>
                    <a:pt x="152" y="128"/>
                  </a:cubicBezTo>
                  <a:cubicBezTo>
                    <a:pt x="173" y="144"/>
                    <a:pt x="184" y="165"/>
                    <a:pt x="184" y="191"/>
                  </a:cubicBezTo>
                  <a:cubicBezTo>
                    <a:pt x="184" y="217"/>
                    <a:pt x="175" y="238"/>
                    <a:pt x="156" y="255"/>
                  </a:cubicBezTo>
                  <a:cubicBezTo>
                    <a:pt x="141" y="269"/>
                    <a:pt x="121" y="275"/>
                    <a:pt x="98" y="275"/>
                  </a:cubicBezTo>
                  <a:cubicBezTo>
                    <a:pt x="84" y="275"/>
                    <a:pt x="71" y="273"/>
                    <a:pt x="59" y="268"/>
                  </a:cubicBezTo>
                  <a:cubicBezTo>
                    <a:pt x="55" y="266"/>
                    <a:pt x="46" y="262"/>
                    <a:pt x="33" y="254"/>
                  </a:cubicBezTo>
                  <a:cubicBezTo>
                    <a:pt x="31" y="253"/>
                    <a:pt x="28" y="252"/>
                    <a:pt x="26" y="252"/>
                  </a:cubicBezTo>
                  <a:cubicBezTo>
                    <a:pt x="23" y="252"/>
                    <a:pt x="19" y="258"/>
                    <a:pt x="16" y="270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22" y="196"/>
                    <a:pt x="29" y="214"/>
                    <a:pt x="37" y="224"/>
                  </a:cubicBezTo>
                  <a:cubicBezTo>
                    <a:pt x="44" y="234"/>
                    <a:pt x="52" y="242"/>
                    <a:pt x="63" y="248"/>
                  </a:cubicBezTo>
                  <a:cubicBezTo>
                    <a:pt x="74" y="254"/>
                    <a:pt x="85" y="257"/>
                    <a:pt x="97" y="257"/>
                  </a:cubicBezTo>
                  <a:cubicBezTo>
                    <a:pt x="112" y="257"/>
                    <a:pt x="123" y="252"/>
                    <a:pt x="131" y="242"/>
                  </a:cubicBezTo>
                  <a:cubicBezTo>
                    <a:pt x="139" y="233"/>
                    <a:pt x="144" y="222"/>
                    <a:pt x="144" y="210"/>
                  </a:cubicBezTo>
                  <a:cubicBezTo>
                    <a:pt x="144" y="193"/>
                    <a:pt x="136" y="179"/>
                    <a:pt x="120" y="170"/>
                  </a:cubicBezTo>
                  <a:cubicBezTo>
                    <a:pt x="112" y="164"/>
                    <a:pt x="95" y="158"/>
                    <a:pt x="69" y="149"/>
                  </a:cubicBezTo>
                  <a:cubicBezTo>
                    <a:pt x="52" y="144"/>
                    <a:pt x="39" y="137"/>
                    <a:pt x="28" y="128"/>
                  </a:cubicBezTo>
                  <a:cubicBezTo>
                    <a:pt x="11" y="115"/>
                    <a:pt x="2" y="97"/>
                    <a:pt x="2" y="72"/>
                  </a:cubicBezTo>
                  <a:cubicBezTo>
                    <a:pt x="2" y="50"/>
                    <a:pt x="10" y="32"/>
                    <a:pt x="26" y="19"/>
                  </a:cubicBezTo>
                  <a:cubicBezTo>
                    <a:pt x="40" y="6"/>
                    <a:pt x="58" y="0"/>
                    <a:pt x="80" y="0"/>
                  </a:cubicBezTo>
                  <a:cubicBezTo>
                    <a:pt x="99" y="0"/>
                    <a:pt x="117" y="5"/>
                    <a:pt x="134" y="16"/>
                  </a:cubicBezTo>
                  <a:cubicBezTo>
                    <a:pt x="138" y="18"/>
                    <a:pt x="140" y="19"/>
                    <a:pt x="142" y="19"/>
                  </a:cubicBezTo>
                  <a:cubicBezTo>
                    <a:pt x="146" y="19"/>
                    <a:pt x="149" y="14"/>
                    <a:pt x="151" y="6"/>
                  </a:cubicBezTo>
                  <a:lnTo>
                    <a:pt x="168" y="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1766" y="4414"/>
              <a:ext cx="46" cy="46"/>
            </a:xfrm>
            <a:custGeom>
              <a:avLst/>
              <a:gdLst>
                <a:gd name="T0" fmla="*/ 0 w 46"/>
                <a:gd name="T1" fmla="*/ 46 h 46"/>
                <a:gd name="T2" fmla="*/ 0 w 46"/>
                <a:gd name="T3" fmla="*/ 0 h 46"/>
                <a:gd name="T4" fmla="*/ 25 w 46"/>
                <a:gd name="T5" fmla="*/ 0 h 46"/>
                <a:gd name="T6" fmla="*/ 46 w 46"/>
                <a:gd name="T7" fmla="*/ 0 h 46"/>
                <a:gd name="T8" fmla="*/ 46 w 46"/>
                <a:gd name="T9" fmla="*/ 46 h 46"/>
                <a:gd name="T10" fmla="*/ 0 w 46"/>
                <a:gd name="T11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46">
                  <a:moveTo>
                    <a:pt x="0" y="46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89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72" r:id="rId11"/>
    <p:sldLayoutId id="2147483971" r:id="rId12"/>
    <p:sldLayoutId id="2147483973" r:id="rId13"/>
    <p:sldLayoutId id="2147483716" r:id="rId14"/>
    <p:sldLayoutId id="2147483991" r:id="rId15"/>
    <p:sldLayoutId id="2147483722" r:id="rId16"/>
    <p:sldLayoutId id="2147483723" r:id="rId17"/>
    <p:sldLayoutId id="2147483969" r:id="rId18"/>
    <p:sldLayoutId id="2147483970" r:id="rId19"/>
    <p:sldLayoutId id="2147483992" r:id="rId20"/>
    <p:sldLayoutId id="2147483993" r:id="rId21"/>
    <p:sldLayoutId id="2147483930" r:id="rId22"/>
    <p:sldLayoutId id="2147483959" r:id="rId23"/>
    <p:sldLayoutId id="2147483960" r:id="rId24"/>
    <p:sldLayoutId id="2147483994" r:id="rId25"/>
    <p:sldLayoutId id="2147483995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082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09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41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microsoft.com/office/2007/relationships/hdphoto" Target="../media/hdphoto1.wdp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0.png"/><Relationship Id="rId3" Type="http://schemas.openxmlformats.org/officeDocument/2006/relationships/image" Target="../media/image25.png"/><Relationship Id="rId7" Type="http://schemas.openxmlformats.org/officeDocument/2006/relationships/image" Target="../media/image17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png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5" Type="http://schemas.openxmlformats.org/officeDocument/2006/relationships/image" Target="../media/image22.png"/><Relationship Id="rId10" Type="http://schemas.openxmlformats.org/officeDocument/2006/relationships/image" Target="../media/image29.png"/><Relationship Id="rId4" Type="http://schemas.openxmlformats.org/officeDocument/2006/relationships/image" Target="../media/image26.png"/><Relationship Id="rId9" Type="http://schemas.openxmlformats.org/officeDocument/2006/relationships/image" Target="../media/image18.png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r>
              <a:rPr lang="hu-HU" smtClean="0"/>
              <a:t/>
            </a:r>
            <a:br>
              <a:rPr lang="hu-HU" smtClean="0"/>
            </a:br>
            <a:r>
              <a:rPr lang="hu-HU" smtClean="0"/>
              <a:t>Pmo – the basic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597235"/>
            <a:ext cx="7980841" cy="768159"/>
          </a:xfrm>
        </p:spPr>
        <p:txBody>
          <a:bodyPr/>
          <a:lstStyle/>
          <a:p>
            <a:r>
              <a:rPr lang="hu-HU" smtClean="0"/>
              <a:t>Éva Németh</a:t>
            </a:r>
          </a:p>
          <a:p>
            <a:r>
              <a:rPr lang="hu-HU" smtClean="0"/>
              <a:t>Nóra Kollárik</a:t>
            </a:r>
          </a:p>
        </p:txBody>
      </p:sp>
    </p:spTree>
    <p:extLst>
      <p:ext uri="{BB962C8B-B14F-4D97-AF65-F5344CB8AC3E}">
        <p14:creationId xmlns:p14="http://schemas.microsoft.com/office/powerpoint/2010/main" val="297171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146757314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96787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655468992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75095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2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2349838234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168530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3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1118232010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273984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419494026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415003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PMO maturity</a:t>
            </a:r>
            <a:endParaRPr lang="en-US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3388993267"/>
              </p:ext>
            </p:extLst>
          </p:nvPr>
        </p:nvGraphicFramePr>
        <p:xfrm>
          <a:off x="1070005" y="701396"/>
          <a:ext cx="8550419" cy="5010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/>
          <p:cNvSpPr/>
          <p:nvPr/>
        </p:nvSpPr>
        <p:spPr>
          <a:xfrm>
            <a:off x="1300098" y="5588589"/>
            <a:ext cx="164874" cy="164874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TextBox 18"/>
          <p:cNvSpPr txBox="1"/>
          <p:nvPr/>
        </p:nvSpPr>
        <p:spPr bwMode="gray">
          <a:xfrm>
            <a:off x="889792" y="5753463"/>
            <a:ext cx="1885682" cy="42855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200" smtClean="0">
                <a:latin typeface="+mj-lt"/>
              </a:rPr>
              <a:t>Absent</a:t>
            </a:r>
          </a:p>
        </p:txBody>
      </p:sp>
    </p:spTree>
    <p:extLst>
      <p:ext uri="{BB962C8B-B14F-4D97-AF65-F5344CB8AC3E}">
        <p14:creationId xmlns:p14="http://schemas.microsoft.com/office/powerpoint/2010/main" val="365818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kt 5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50" y="1751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0" y="1751"/>
                        <a:ext cx="1750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hteck 58"/>
          <p:cNvSpPr/>
          <p:nvPr/>
        </p:nvSpPr>
        <p:spPr>
          <a:xfrm>
            <a:off x="2758828" y="1869635"/>
            <a:ext cx="2483405" cy="4475105"/>
          </a:xfrm>
          <a:prstGeom prst="rect">
            <a:avLst/>
          </a:prstGeom>
          <a:solidFill>
            <a:schemeClr val="tx2">
              <a:alpha val="1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03" tIns="50402" rIns="100803" bIns="50402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277284" y="1869635"/>
            <a:ext cx="2483405" cy="4475105"/>
          </a:xfrm>
          <a:prstGeom prst="rect">
            <a:avLst/>
          </a:prstGeom>
          <a:solidFill>
            <a:srgbClr val="427BAB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03" tIns="50402" rIns="100803" bIns="50402"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021" y="367562"/>
            <a:ext cx="9366581" cy="916213"/>
          </a:xfrm>
        </p:spPr>
        <p:txBody>
          <a:bodyPr/>
          <a:lstStyle/>
          <a:p>
            <a:r>
              <a:rPr lang="en-US" cap="all"/>
              <a:t>T&amp;T PROJECT Organization</a:t>
            </a:r>
            <a:br>
              <a:rPr lang="en-US" cap="all"/>
            </a:br>
            <a:r>
              <a:rPr lang="hu-HU" cap="all" smtClean="0">
                <a:latin typeface="TeleGrotesk Headline" pitchFamily="2" charset="0"/>
              </a:rPr>
              <a:t>sample </a:t>
            </a:r>
            <a:r>
              <a:rPr lang="hu-HU" cap="all" dirty="0">
                <a:latin typeface="TeleGrotesk Headline" pitchFamily="2" charset="0"/>
              </a:rPr>
              <a:t>– </a:t>
            </a:r>
            <a:r>
              <a:rPr lang="en-US" cap="all" dirty="0" smtClean="0">
                <a:latin typeface="TeleGrotesk Headline" pitchFamily="2" charset="0"/>
              </a:rPr>
              <a:t>Mirrored </a:t>
            </a:r>
            <a:r>
              <a:rPr lang="en-US" cap="all" dirty="0">
                <a:latin typeface="TeleGrotesk Headline" pitchFamily="2" charset="0"/>
              </a:rPr>
              <a:t>Project Organization</a:t>
            </a:r>
            <a:endParaRPr lang="en-US" cap="al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9415584" y="7091097"/>
            <a:ext cx="318520" cy="152702"/>
          </a:xfrm>
        </p:spPr>
        <p:txBody>
          <a:bodyPr/>
          <a:lstStyle/>
          <a:p>
            <a:fld id="{EF856C3B-4879-44CB-8ACD-F9C43CE31EF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gray">
          <a:xfrm>
            <a:off x="1745782" y="393487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</p:txBody>
      </p:sp>
      <p:sp>
        <p:nvSpPr>
          <p:cNvPr id="6" name="Rectangle 19"/>
          <p:cNvSpPr>
            <a:spLocks noChangeArrowheads="1"/>
          </p:cNvSpPr>
          <p:nvPr/>
        </p:nvSpPr>
        <p:spPr bwMode="gray">
          <a:xfrm>
            <a:off x="674202" y="393487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oss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unctions</a:t>
            </a:r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gray">
          <a:xfrm>
            <a:off x="3059036" y="3224348"/>
            <a:ext cx="1595274" cy="577761"/>
          </a:xfrm>
          <a:prstGeom prst="rect">
            <a:avLst/>
          </a:prstGeom>
          <a:solidFill>
            <a:schemeClr val="tx2"/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&amp;T Program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nagement</a:t>
            </a:r>
          </a:p>
        </p:txBody>
      </p:sp>
      <p:sp>
        <p:nvSpPr>
          <p:cNvPr id="8" name="Rectangle 17"/>
          <p:cNvSpPr>
            <a:spLocks noChangeArrowheads="1"/>
          </p:cNvSpPr>
          <p:nvPr/>
        </p:nvSpPr>
        <p:spPr bwMode="gray">
          <a:xfrm>
            <a:off x="2840776" y="3932061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gray">
          <a:xfrm>
            <a:off x="3962572" y="3932061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ross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unctions</a:t>
            </a: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gray">
          <a:xfrm>
            <a:off x="3964466" y="4479337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A</a:t>
            </a:r>
          </a:p>
        </p:txBody>
      </p:sp>
      <p:sp>
        <p:nvSpPr>
          <p:cNvPr id="14" name="Rectangle 18"/>
          <p:cNvSpPr>
            <a:spLocks noChangeArrowheads="1"/>
          </p:cNvSpPr>
          <p:nvPr/>
        </p:nvSpPr>
        <p:spPr bwMode="gray">
          <a:xfrm>
            <a:off x="3964466" y="5035083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B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gray">
          <a:xfrm>
            <a:off x="3964466" y="5605834"/>
            <a:ext cx="912813" cy="508470"/>
          </a:xfrm>
          <a:prstGeom prst="rect">
            <a:avLst/>
          </a:prstGeom>
          <a:solidFill>
            <a:schemeClr val="tx2">
              <a:alpha val="7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X</a:t>
            </a:r>
          </a:p>
        </p:txBody>
      </p:sp>
      <p:cxnSp>
        <p:nvCxnSpPr>
          <p:cNvPr id="17" name="AutoShape 50"/>
          <p:cNvCxnSpPr>
            <a:cxnSpLocks noChangeShapeType="1"/>
          </p:cNvCxnSpPr>
          <p:nvPr/>
        </p:nvCxnSpPr>
        <p:spPr bwMode="gray">
          <a:xfrm rot="16200000" flipH="1">
            <a:off x="4163191" y="3495628"/>
            <a:ext cx="129952" cy="74291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sp>
        <p:nvSpPr>
          <p:cNvPr id="22" name="Rectangle 15"/>
          <p:cNvSpPr>
            <a:spLocks noChangeArrowheads="1"/>
          </p:cNvSpPr>
          <p:nvPr/>
        </p:nvSpPr>
        <p:spPr bwMode="gray">
          <a:xfrm>
            <a:off x="866096" y="3224347"/>
            <a:ext cx="1595274" cy="577761"/>
          </a:xfrm>
          <a:prstGeom prst="rect">
            <a:avLst/>
          </a:prstGeom>
          <a:solidFill>
            <a:srgbClr val="002951"/>
          </a:solidFill>
        </p:spPr>
        <p:txBody>
          <a:bodyPr wrap="square" lIns="0" tIns="0" rIns="0" bIns="39686" rtlCol="0" anchor="ctr" anchorCtr="0">
            <a:noAutofit/>
          </a:bodyPr>
          <a:lstStyle/>
          <a:p>
            <a:pPr algn="ctr">
              <a:spcAft>
                <a:spcPts val="496"/>
              </a:spcAft>
            </a:pPr>
            <a: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rogram </a:t>
            </a:r>
            <a:b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nagement</a:t>
            </a:r>
          </a:p>
        </p:txBody>
      </p:sp>
      <p:cxnSp>
        <p:nvCxnSpPr>
          <p:cNvPr id="24" name="AutoShape 42"/>
          <p:cNvCxnSpPr>
            <a:cxnSpLocks noChangeShapeType="1"/>
            <a:stCxn id="22" idx="2"/>
            <a:endCxn id="34" idx="3"/>
          </p:cNvCxnSpPr>
          <p:nvPr/>
        </p:nvCxnSpPr>
        <p:spPr bwMode="gray">
          <a:xfrm rot="5400000">
            <a:off x="596395" y="4792729"/>
            <a:ext cx="2057961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29" name="AutoShape 49"/>
          <p:cNvCxnSpPr>
            <a:cxnSpLocks noChangeShapeType="1"/>
            <a:stCxn id="22" idx="2"/>
            <a:endCxn id="33" idx="3"/>
          </p:cNvCxnSpPr>
          <p:nvPr/>
        </p:nvCxnSpPr>
        <p:spPr bwMode="gray">
          <a:xfrm rot="5400000">
            <a:off x="876299" y="4512825"/>
            <a:ext cx="1498152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30" name="AutoShape 50"/>
          <p:cNvCxnSpPr>
            <a:cxnSpLocks noChangeShapeType="1"/>
          </p:cNvCxnSpPr>
          <p:nvPr/>
        </p:nvCxnSpPr>
        <p:spPr bwMode="gray">
          <a:xfrm rot="16200000" flipH="1">
            <a:off x="1865529" y="3599263"/>
            <a:ext cx="132768" cy="53845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31" name="AutoShape 51"/>
          <p:cNvCxnSpPr>
            <a:cxnSpLocks noChangeShapeType="1"/>
          </p:cNvCxnSpPr>
          <p:nvPr/>
        </p:nvCxnSpPr>
        <p:spPr bwMode="gray">
          <a:xfrm rot="5400000">
            <a:off x="1156204" y="4232920"/>
            <a:ext cx="938343" cy="76718"/>
          </a:xfrm>
          <a:prstGeom prst="bentConnector2">
            <a:avLst/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sp>
        <p:nvSpPr>
          <p:cNvPr id="32" name="Rectangle 18"/>
          <p:cNvSpPr>
            <a:spLocks noChangeArrowheads="1"/>
          </p:cNvSpPr>
          <p:nvPr/>
        </p:nvSpPr>
        <p:spPr bwMode="gray">
          <a:xfrm>
            <a:off x="674202" y="4486216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A</a:t>
            </a: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gray">
          <a:xfrm>
            <a:off x="674202" y="5046025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B</a:t>
            </a:r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gray">
          <a:xfrm>
            <a:off x="674202" y="5605834"/>
            <a:ext cx="912813" cy="508470"/>
          </a:xfrm>
          <a:prstGeom prst="rect">
            <a:avLst/>
          </a:prstGeom>
          <a:solidFill>
            <a:srgbClr val="003366">
              <a:alpha val="75000"/>
            </a:srgbClr>
          </a:solidFill>
          <a:ln w="57150">
            <a:noFill/>
            <a:miter lim="800000"/>
            <a:headEnd/>
            <a:tailEnd/>
          </a:ln>
          <a:effectLst/>
        </p:spPr>
        <p:txBody>
          <a:bodyPr wrap="none" lIns="100803" tIns="50402" rIns="100803" bIns="50402" anchor="ctr"/>
          <a:lstStyle/>
          <a:p>
            <a:pPr algn="ctr" defTabSz="1008035">
              <a:lnSpc>
                <a:spcPct val="90000"/>
              </a:lnSpc>
              <a:spcBef>
                <a:spcPct val="25000"/>
              </a:spcBef>
            </a:pP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ork-</a:t>
            </a:r>
            <a:b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en-US" sz="150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ream X</a:t>
            </a:r>
          </a:p>
        </p:txBody>
      </p:sp>
      <p:cxnSp>
        <p:nvCxnSpPr>
          <p:cNvPr id="36" name="AutoShape 50"/>
          <p:cNvCxnSpPr>
            <a:cxnSpLocks noChangeShapeType="1"/>
          </p:cNvCxnSpPr>
          <p:nvPr/>
        </p:nvCxnSpPr>
        <p:spPr bwMode="gray">
          <a:xfrm rot="5400000">
            <a:off x="1330788" y="3601929"/>
            <a:ext cx="132768" cy="53312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4A4A4"/>
            </a:solidFill>
            <a:miter lim="800000"/>
            <a:headEnd/>
            <a:tailEnd/>
          </a:ln>
          <a:effectLst/>
        </p:spPr>
      </p:cxnSp>
      <p:cxnSp>
        <p:nvCxnSpPr>
          <p:cNvPr id="41" name="Straight Connector 195"/>
          <p:cNvCxnSpPr>
            <a:stCxn id="5" idx="3"/>
            <a:endCxn id="8" idx="1"/>
          </p:cNvCxnSpPr>
          <p:nvPr/>
        </p:nvCxnSpPr>
        <p:spPr>
          <a:xfrm flipV="1">
            <a:off x="2658595" y="4186296"/>
            <a:ext cx="182181" cy="2815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196"/>
          <p:cNvCxnSpPr/>
          <p:nvPr/>
        </p:nvCxnSpPr>
        <p:spPr>
          <a:xfrm>
            <a:off x="1981849" y="4728016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99"/>
          <p:cNvCxnSpPr/>
          <p:nvPr/>
        </p:nvCxnSpPr>
        <p:spPr>
          <a:xfrm>
            <a:off x="1981849" y="5280375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00"/>
          <p:cNvCxnSpPr/>
          <p:nvPr/>
        </p:nvCxnSpPr>
        <p:spPr>
          <a:xfrm>
            <a:off x="1981849" y="5832733"/>
            <a:ext cx="1660854" cy="0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202"/>
          <p:cNvCxnSpPr>
            <a:stCxn id="22" idx="3"/>
            <a:endCxn id="7" idx="1"/>
          </p:cNvCxnSpPr>
          <p:nvPr/>
        </p:nvCxnSpPr>
        <p:spPr>
          <a:xfrm>
            <a:off x="2461370" y="3513228"/>
            <a:ext cx="597665" cy="1"/>
          </a:xfrm>
          <a:prstGeom prst="line">
            <a:avLst/>
          </a:prstGeom>
          <a:ln w="12700">
            <a:solidFill>
              <a:srgbClr val="BABD5A"/>
            </a:solidFill>
            <a:prstDash val="solid"/>
            <a:headEnd type="triangl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205"/>
          <p:cNvSpPr/>
          <p:nvPr/>
        </p:nvSpPr>
        <p:spPr>
          <a:xfrm rot="5400000">
            <a:off x="2601359" y="933337"/>
            <a:ext cx="317566" cy="378809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8100">
            <a:gradFill>
              <a:gsLst>
                <a:gs pos="0">
                  <a:schemeClr val="tx2"/>
                </a:gs>
                <a:gs pos="50000">
                  <a:schemeClr val="bg1">
                    <a:lumMod val="85000"/>
                  </a:schemeClr>
                </a:gs>
                <a:gs pos="100000">
                  <a:srgbClr val="427BAB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00803" tIns="50402" rIns="100803" bIns="50402"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  <a:latin typeface="Tele-GroteskFet" pitchFamily="2" charset="0"/>
              </a:rPr>
              <a:t>Project Steering Committee</a:t>
            </a:r>
          </a:p>
        </p:txBody>
      </p:sp>
      <p:cxnSp>
        <p:nvCxnSpPr>
          <p:cNvPr id="50" name="Form 49"/>
          <p:cNvCxnSpPr>
            <a:stCxn id="7" idx="2"/>
            <a:endCxn id="13" idx="1"/>
          </p:cNvCxnSpPr>
          <p:nvPr/>
        </p:nvCxnSpPr>
        <p:spPr>
          <a:xfrm rot="16200000" flipH="1">
            <a:off x="3444839" y="4213944"/>
            <a:ext cx="931463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Form 50"/>
          <p:cNvCxnSpPr>
            <a:stCxn id="7" idx="2"/>
            <a:endCxn id="14" idx="1"/>
          </p:cNvCxnSpPr>
          <p:nvPr/>
        </p:nvCxnSpPr>
        <p:spPr>
          <a:xfrm rot="16200000" flipH="1">
            <a:off x="3166966" y="4491816"/>
            <a:ext cx="1487208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Form 51"/>
          <p:cNvCxnSpPr>
            <a:stCxn id="7" idx="2"/>
            <a:endCxn id="15" idx="1"/>
          </p:cNvCxnSpPr>
          <p:nvPr/>
        </p:nvCxnSpPr>
        <p:spPr>
          <a:xfrm rot="16200000" flipH="1">
            <a:off x="2881589" y="4777193"/>
            <a:ext cx="2057960" cy="107793"/>
          </a:xfrm>
          <a:prstGeom prst="bentConnector2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/>
          <p:nvPr/>
        </p:nvCxnSpPr>
        <p:spPr>
          <a:xfrm rot="5400000" flipH="1" flipV="1">
            <a:off x="3512478" y="3587341"/>
            <a:ext cx="129952" cy="559490"/>
          </a:xfrm>
          <a:prstGeom prst="bentConnector3">
            <a:avLst>
              <a:gd name="adj1" fmla="val 50000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205"/>
          <p:cNvSpPr/>
          <p:nvPr/>
        </p:nvSpPr>
        <p:spPr>
          <a:xfrm rot="5400000">
            <a:off x="2603883" y="882055"/>
            <a:ext cx="316802" cy="293720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8100">
            <a:gradFill>
              <a:gsLst>
                <a:gs pos="0">
                  <a:schemeClr val="tx2"/>
                </a:gs>
                <a:gs pos="50000">
                  <a:schemeClr val="bg1">
                    <a:lumMod val="85000"/>
                  </a:schemeClr>
                </a:gs>
                <a:gs pos="100000">
                  <a:srgbClr val="427BAB"/>
                </a:gs>
              </a:gsLst>
              <a:lin ang="540000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100803" tIns="50402" rIns="100803" bIns="50402"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  <a:latin typeface="Tele-GroteskFet" pitchFamily="2" charset="0"/>
              </a:rPr>
              <a:t>Executive Steering Committee</a:t>
            </a:r>
          </a:p>
        </p:txBody>
      </p:sp>
      <p:cxnSp>
        <p:nvCxnSpPr>
          <p:cNvPr id="57" name="Gerade Verbindung 56"/>
          <p:cNvCxnSpPr>
            <a:stCxn id="56" idx="3"/>
            <a:endCxn id="47" idx="1"/>
          </p:cNvCxnSpPr>
          <p:nvPr/>
        </p:nvCxnSpPr>
        <p:spPr>
          <a:xfrm flipH="1">
            <a:off x="2760142" y="2509057"/>
            <a:ext cx="2141" cy="159546"/>
          </a:xfrm>
          <a:prstGeom prst="line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Form 69"/>
          <p:cNvCxnSpPr>
            <a:stCxn id="47" idx="3"/>
            <a:endCxn id="22" idx="0"/>
          </p:cNvCxnSpPr>
          <p:nvPr/>
        </p:nvCxnSpPr>
        <p:spPr>
          <a:xfrm rot="5400000">
            <a:off x="2092848" y="2557054"/>
            <a:ext cx="238179" cy="1096409"/>
          </a:xfrm>
          <a:prstGeom prst="bentConnector5">
            <a:avLst>
              <a:gd name="adj1" fmla="val 56232"/>
              <a:gd name="adj2" fmla="val 20865"/>
              <a:gd name="adj3" fmla="val 55908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Form 74"/>
          <p:cNvCxnSpPr>
            <a:stCxn id="47" idx="3"/>
            <a:endCxn id="7" idx="0"/>
          </p:cNvCxnSpPr>
          <p:nvPr/>
        </p:nvCxnSpPr>
        <p:spPr>
          <a:xfrm rot="16200000" flipH="1">
            <a:off x="3189318" y="2556993"/>
            <a:ext cx="238180" cy="1096530"/>
          </a:xfrm>
          <a:prstGeom prst="bentConnector5">
            <a:avLst>
              <a:gd name="adj1" fmla="val 56346"/>
              <a:gd name="adj2" fmla="val 20868"/>
              <a:gd name="adj3" fmla="val 57397"/>
            </a:avLst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Rectangle 6"/>
          <p:cNvSpPr>
            <a:spLocks noChangeArrowheads="1"/>
          </p:cNvSpPr>
          <p:nvPr/>
        </p:nvSpPr>
        <p:spPr bwMode="auto">
          <a:xfrm>
            <a:off x="5437232" y="1890902"/>
            <a:ext cx="4286371" cy="4412486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158746" tIns="515923" rIns="158746" bIns="50402"/>
          <a:lstStyle/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hu-HU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 smtClean="0">
                <a:latin typeface="Tele-GroteskNor" pitchFamily="2" charset="0"/>
              </a:rPr>
              <a:t>Responsible </a:t>
            </a:r>
            <a:r>
              <a:rPr lang="en-US" sz="1800">
                <a:latin typeface="Tele-GroteskNor" pitchFamily="2" charset="0"/>
              </a:rPr>
              <a:t>for all PM related topics and interfacing with </a:t>
            </a:r>
            <a:r>
              <a:rPr lang="hu-HU" sz="1800" smtClean="0">
                <a:latin typeface="Tele-GroteskNor" pitchFamily="2" charset="0"/>
              </a:rPr>
              <a:t>the organization </a:t>
            </a:r>
            <a:r>
              <a:rPr lang="en-US" sz="1800" smtClean="0">
                <a:latin typeface="Tele-GroteskNor" pitchFamily="2" charset="0"/>
              </a:rPr>
              <a:t> </a:t>
            </a:r>
            <a:r>
              <a:rPr lang="en-US" sz="1800">
                <a:latin typeface="Tele-GroteskNor" pitchFamily="2" charset="0"/>
              </a:rPr>
              <a:t>on general requirements (planning, reporting, etc</a:t>
            </a:r>
            <a:r>
              <a:rPr lang="en-US" sz="1800" smtClean="0">
                <a:latin typeface="Tele-GroteskNor" pitchFamily="2" charset="0"/>
              </a:rPr>
              <a:t>.).</a:t>
            </a:r>
            <a:endParaRPr lang="hu-HU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>
                <a:latin typeface="Tele-GroteskNor" pitchFamily="2" charset="0"/>
              </a:rPr>
              <a:t>Responsible for supporting of PM related topics and interfacing with Customer PMO on general requirements  (planning, reporting, etc.).</a:t>
            </a: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r>
              <a:rPr lang="en-US" sz="1800">
                <a:latin typeface="Tele-GroteskNor" pitchFamily="2" charset="0"/>
              </a:rPr>
              <a:t>Responsible for administration and content of project EPM and customer EPM (Enterprise Project Management tool).</a:t>
            </a:r>
          </a:p>
          <a:p>
            <a:pPr marL="1750" lvl="1" defTabSz="1008035">
              <a:lnSpc>
                <a:spcPct val="90000"/>
              </a:lnSpc>
              <a:spcBef>
                <a:spcPct val="25000"/>
              </a:spcBef>
            </a:pPr>
            <a:endParaRPr lang="en-US" sz="1800" smtClean="0">
              <a:latin typeface="Tele-GroteskNor" pitchFamily="2" charset="0"/>
            </a:endParaRPr>
          </a:p>
          <a:p>
            <a:pPr marL="196007" lvl="1" indent="-194257" defTabSz="1008035">
              <a:lnSpc>
                <a:spcPct val="90000"/>
              </a:lnSpc>
              <a:spcBef>
                <a:spcPct val="25000"/>
              </a:spcBef>
              <a:buFont typeface="Wingdings" pitchFamily="2" charset="2"/>
              <a:buChar char="§"/>
            </a:pPr>
            <a:endParaRPr lang="en-US" sz="1500" dirty="0">
              <a:latin typeface="Tele-GroteskNor" pitchFamily="2" charset="0"/>
            </a:endParaRPr>
          </a:p>
        </p:txBody>
      </p:sp>
      <p:sp>
        <p:nvSpPr>
          <p:cNvPr id="85" name="Rectangle 7"/>
          <p:cNvSpPr>
            <a:spLocks noChangeArrowheads="1"/>
          </p:cNvSpPr>
          <p:nvPr/>
        </p:nvSpPr>
        <p:spPr bwMode="auto">
          <a:xfrm>
            <a:off x="5437232" y="1890902"/>
            <a:ext cx="4286371" cy="478845"/>
          </a:xfrm>
          <a:prstGeom prst="rect">
            <a:avLst/>
          </a:prstGeom>
          <a:solidFill>
            <a:schemeClr val="bg2"/>
          </a:solidFill>
          <a:ln w="381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lIns="158746" tIns="79373" rIns="158746" bIns="79373">
            <a:spAutoFit/>
          </a:bodyPr>
          <a:lstStyle/>
          <a:p>
            <a:pPr>
              <a:lnSpc>
                <a:spcPct val="90000"/>
              </a:lnSpc>
              <a:spcBef>
                <a:spcPct val="25000"/>
              </a:spcBef>
              <a:buClrTx/>
              <a:buSzTx/>
              <a:buFontTx/>
              <a:buNone/>
            </a:pPr>
            <a:r>
              <a:rPr lang="en-US" cap="all">
                <a:solidFill>
                  <a:schemeClr val="bg1"/>
                </a:solidFill>
                <a:cs typeface="Arial" charset="0"/>
              </a:rPr>
              <a:t>Project Management Office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983195" y="1615131"/>
            <a:ext cx="10715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97648" indent="-297648" algn="ctr">
              <a:spcAft>
                <a:spcPts val="496"/>
              </a:spcAft>
              <a:buClr>
                <a:schemeClr val="tx2"/>
              </a:buClr>
            </a:pPr>
            <a:r>
              <a:rPr lang="de-DE" sz="1800" dirty="0">
                <a:solidFill>
                  <a:srgbClr val="003366"/>
                </a:solidFill>
              </a:rPr>
              <a:t>Customer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3464740" y="1615131"/>
            <a:ext cx="10715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97648" indent="-297648" algn="ctr">
              <a:spcAft>
                <a:spcPts val="496"/>
              </a:spcAft>
              <a:buClr>
                <a:schemeClr val="tx2"/>
              </a:buClr>
            </a:pPr>
            <a:r>
              <a:rPr lang="de-DE" sz="1800" dirty="0">
                <a:solidFill>
                  <a:schemeClr val="tx2"/>
                </a:solidFill>
              </a:rPr>
              <a:t>T-System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</a:rPr>
              <a:t>PTE MIK PM1 2018/19-1        -        PMO Basics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239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7046" y="2465620"/>
            <a:ext cx="3401659" cy="262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1" y="151847"/>
            <a:ext cx="9359999" cy="588082"/>
          </a:xfrm>
        </p:spPr>
        <p:txBody>
          <a:bodyPr/>
          <a:lstStyle/>
          <a:p>
            <a:r>
              <a:rPr lang="en-US" smtClean="0"/>
              <a:t>Pmo</a:t>
            </a:r>
            <a:r>
              <a:rPr lang="hu-HU" smtClean="0"/>
              <a:t> key tasks</a:t>
            </a:r>
            <a:endParaRPr lang="en-US" sz="240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3816000" y="6896293"/>
            <a:ext cx="4539600" cy="360362"/>
          </a:xfrm>
        </p:spPr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396000" y="6885142"/>
            <a:ext cx="320400" cy="360362"/>
          </a:xfrm>
        </p:spPr>
        <p:txBody>
          <a:bodyPr/>
          <a:lstStyle/>
          <a:p>
            <a:fld id="{9185B2FC-D18E-4EA2-A103-6DCF88856111}" type="slidenum">
              <a:rPr lang="en-US" noProof="0" smtClean="0"/>
              <a:pPr/>
              <a:t>17</a:t>
            </a:fld>
            <a:endParaRPr lang="en-US" noProof="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63629891"/>
              </p:ext>
            </p:extLst>
          </p:nvPr>
        </p:nvGraphicFramePr>
        <p:xfrm>
          <a:off x="234175" y="412600"/>
          <a:ext cx="9846450" cy="6542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7095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551" name="Rectangle 3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tasks – initiation &amp; planning					1/3</a:t>
            </a:r>
            <a:endParaRPr lang="en-US" dirty="0">
              <a:latin typeface="TeleGrotesk Headline" pitchFamily="2" charset="0"/>
            </a:endParaRPr>
          </a:p>
        </p:txBody>
      </p:sp>
      <p:sp>
        <p:nvSpPr>
          <p:cNvPr id="492547" name="AutoShape 120"/>
          <p:cNvSpPr>
            <a:spLocks noChangeArrowheads="1"/>
          </p:cNvSpPr>
          <p:nvPr/>
        </p:nvSpPr>
        <p:spPr bwMode="auto">
          <a:xfrm>
            <a:off x="303439" y="5121296"/>
            <a:ext cx="1737987" cy="1359042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CONSULTANCY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48" name="AutoShape 120"/>
          <p:cNvSpPr>
            <a:spLocks noChangeArrowheads="1"/>
          </p:cNvSpPr>
          <p:nvPr/>
        </p:nvSpPr>
        <p:spPr bwMode="auto">
          <a:xfrm>
            <a:off x="294011" y="3274071"/>
            <a:ext cx="1737987" cy="1701521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COMMUNICATION MAPPING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50" name="AutoShape 120"/>
          <p:cNvSpPr>
            <a:spLocks noChangeArrowheads="1"/>
          </p:cNvSpPr>
          <p:nvPr/>
        </p:nvSpPr>
        <p:spPr bwMode="auto">
          <a:xfrm>
            <a:off x="303439" y="1391182"/>
            <a:ext cx="1737987" cy="1758384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GENERAL – REPORTING &amp; TRACKING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64" name="AutoShape 20"/>
          <p:cNvSpPr>
            <a:spLocks noChangeArrowheads="1"/>
          </p:cNvSpPr>
          <p:nvPr/>
        </p:nvSpPr>
        <p:spPr bwMode="auto">
          <a:xfrm>
            <a:off x="2106027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2569" name="AutoShape 20"/>
          <p:cNvSpPr>
            <a:spLocks noChangeArrowheads="1"/>
          </p:cNvSpPr>
          <p:nvPr/>
        </p:nvSpPr>
        <p:spPr bwMode="auto">
          <a:xfrm>
            <a:off x="7316438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349281"/>
              </p:ext>
            </p:extLst>
          </p:nvPr>
        </p:nvGraphicFramePr>
        <p:xfrm>
          <a:off x="2106028" y="1022915"/>
          <a:ext cx="4875685" cy="58338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6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6074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59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90062"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2100" b="0" dirty="0" err="1" smtClean="0">
                          <a:solidFill>
                            <a:schemeClr val="bg1"/>
                          </a:solidFill>
                          <a:latin typeface="Tele-GroteskFet" pitchFamily="2" charset="0"/>
                        </a:rPr>
                        <a:t>Description</a:t>
                      </a:r>
                      <a:endParaRPr lang="en-US" sz="21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7468"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4200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7983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anaging  Resourcing Forecast Report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ReM Tool entries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for new &amp; closing assignments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Organizing  Resourcing Reviews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Time &amp; Cost Tracking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ollecting source data for Project Report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Updating Risks &amp; Issues &amp;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Action Items Log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55974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Organization Chart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Building out Communication Channels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ollecting source data for Project Report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Updating Risks &amp; Issues &amp;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Action Items Log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eeting Minutes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onitoring</a:t>
                      </a: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Changes &amp; updating Project Data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baseline="0" noProof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Portfolio – central storage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15344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marR="0" indent="-217488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  <a:tabLst/>
                        <a:defRPr/>
                      </a:pPr>
                      <a:r>
                        <a:rPr lang="en-US" sz="1600" noProof="0" dirty="0" smtClean="0"/>
                        <a:t>All additionals to be requested by the Stream Lead</a:t>
                      </a:r>
                    </a:p>
                    <a:p>
                      <a:pPr marL="217488" marR="0" indent="-217488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  <a:tabLst/>
                        <a:defRPr/>
                      </a:pPr>
                      <a:r>
                        <a:rPr lang="en-US" sz="1600" noProof="0" dirty="0" smtClean="0"/>
                        <a:t>Creating an overview of project specific processes, if necessary - MS Visio</a:t>
                      </a:r>
                      <a:endParaRPr lang="en-US" sz="1600" noProof="0" dirty="0"/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9127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17410" name="Picture 2" descr="Image result for tracki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1" y="2227342"/>
            <a:ext cx="1293584" cy="86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Image result for communicatio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517" y="3912714"/>
            <a:ext cx="1030604" cy="103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Image result for consultancy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773" y="5519184"/>
            <a:ext cx="1040818" cy="83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7123" y="1622286"/>
            <a:ext cx="1876425" cy="7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 descr="Image result for project repor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7923" y="2613250"/>
            <a:ext cx="3095625" cy="1381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2180" y="4146953"/>
            <a:ext cx="2181368" cy="1884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9763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40" name="Picture 8" descr="Image result for pm tool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575" y="2105380"/>
            <a:ext cx="5106252" cy="287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2551" name="Rectangle 3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</a:t>
            </a:r>
            <a:r>
              <a:rPr lang="hu-HU" dirty="0" err="1" smtClean="0"/>
              <a:t>Tool-KIT</a:t>
            </a:r>
            <a:r>
              <a:rPr lang="hu-HU" dirty="0" smtClean="0"/>
              <a:t>												2/3</a:t>
            </a:r>
            <a:endParaRPr lang="en-US" dirty="0">
              <a:latin typeface="TeleGrotesk Headline" pitchFamily="2" charset="0"/>
            </a:endParaRPr>
          </a:p>
        </p:txBody>
      </p:sp>
      <p:sp>
        <p:nvSpPr>
          <p:cNvPr id="492550" name="AutoShape 120"/>
          <p:cNvSpPr>
            <a:spLocks noChangeArrowheads="1"/>
          </p:cNvSpPr>
          <p:nvPr/>
        </p:nvSpPr>
        <p:spPr bwMode="auto">
          <a:xfrm>
            <a:off x="303438" y="1344706"/>
            <a:ext cx="1737987" cy="4765638"/>
          </a:xfrm>
          <a:prstGeom prst="rect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</p:spPr>
        <p:txBody>
          <a:bodyPr lIns="108000" tIns="108000" rIns="0" bIns="0" anchor="t" anchorCtr="0"/>
          <a:lstStyle/>
          <a:p>
            <a:pPr defTabSz="914400">
              <a:lnSpc>
                <a:spcPct val="90000"/>
              </a:lnSpc>
            </a:pPr>
            <a:r>
              <a:rPr lang="hu-HU" sz="1800" dirty="0" smtClean="0">
                <a:solidFill>
                  <a:schemeClr val="tx2"/>
                </a:solidFill>
                <a:latin typeface="Tele-GroteskFet" pitchFamily="2" charset="0"/>
                <a:cs typeface="Arial Unicode MS"/>
              </a:rPr>
              <a:t>GENERAL – TOOL KIT</a:t>
            </a:r>
            <a:endParaRPr lang="en-US" sz="1800" dirty="0">
              <a:solidFill>
                <a:schemeClr val="tx2"/>
              </a:solidFill>
              <a:latin typeface="Tele-GroteskFet" pitchFamily="2" charset="0"/>
              <a:cs typeface="Arial Unicode MS"/>
            </a:endParaRPr>
          </a:p>
        </p:txBody>
      </p:sp>
      <p:sp>
        <p:nvSpPr>
          <p:cNvPr id="492564" name="AutoShape 20"/>
          <p:cNvSpPr>
            <a:spLocks noChangeArrowheads="1"/>
          </p:cNvSpPr>
          <p:nvPr/>
        </p:nvSpPr>
        <p:spPr bwMode="auto">
          <a:xfrm>
            <a:off x="2106027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sp>
        <p:nvSpPr>
          <p:cNvPr id="492569" name="AutoShape 20"/>
          <p:cNvSpPr>
            <a:spLocks noChangeArrowheads="1"/>
          </p:cNvSpPr>
          <p:nvPr/>
        </p:nvSpPr>
        <p:spPr bwMode="auto">
          <a:xfrm>
            <a:off x="7316438" y="1974277"/>
            <a:ext cx="2454463" cy="451536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lIns="72000" tIns="360043" rIns="0" bIns="0"/>
          <a:lstStyle/>
          <a:p>
            <a:pPr marL="92075" indent="-92075" defTabSz="914400">
              <a:lnSpc>
                <a:spcPct val="90000"/>
              </a:lnSpc>
              <a:spcBef>
                <a:spcPct val="25000"/>
              </a:spcBef>
            </a:pPr>
            <a:endParaRPr lang="en-US" sz="1200" dirty="0">
              <a:latin typeface="Tele-GroteskNor" pitchFamily="2" charset="0"/>
              <a:cs typeface="Arial Unicode MS"/>
            </a:endParaRP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1242752"/>
              </p:ext>
            </p:extLst>
          </p:nvPr>
        </p:nvGraphicFramePr>
        <p:xfrm>
          <a:off x="2430855" y="1378642"/>
          <a:ext cx="4452830" cy="4411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1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2078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3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12721"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2100" b="0" dirty="0" err="1" smtClean="0">
                          <a:solidFill>
                            <a:schemeClr val="bg1"/>
                          </a:solidFill>
                          <a:latin typeface="Tele-GroteskFet" pitchFamily="2" charset="0"/>
                        </a:rPr>
                        <a:t>Description</a:t>
                      </a:r>
                      <a:endParaRPr lang="en-US" sz="21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lnSpc>
                          <a:spcPct val="90000"/>
                        </a:lnSpc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21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043"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bg1"/>
                        </a:solidFill>
                        <a:latin typeface="Tele-GroteskFet" pitchFamily="2" charset="0"/>
                      </a:endParaRPr>
                    </a:p>
                  </a:txBody>
                  <a:tcPr marL="94489" marR="31496" marT="0" marB="42006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eaLnBrk="1"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endParaRPr lang="en-US" sz="400" b="0" dirty="0">
                        <a:solidFill>
                          <a:schemeClr val="tx2"/>
                        </a:solidFill>
                        <a:latin typeface="Tele-GroteskFet" pitchFamily="2" charset="0"/>
                      </a:endParaRPr>
                    </a:p>
                  </a:txBody>
                  <a:tcPr marL="0" marR="0" marT="0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22848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New Joiner Form &amp; Kickstart 4 onboarding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Resource Management Tool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SharePoint Portal (central documental repository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SharePoint Portal (project-specific site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Knowledge Center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Expense Tracking Tool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Accounting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System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(optionally requested for PMOs)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Customer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Project Reporting Tool </a:t>
                      </a:r>
                    </a:p>
                    <a:p>
                      <a:pPr marL="217488" indent="-217488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Miles+ (time-writing tool)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Defining cross-functions &amp; dependencies</a:t>
                      </a: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  <a:tabLst/>
                        <a:defRPr/>
                      </a:pPr>
                      <a:r>
                        <a:rPr lang="hu-HU" sz="1600" noProof="0" dirty="0" smtClean="0"/>
                        <a:t>MS applications – be</a:t>
                      </a:r>
                      <a:r>
                        <a:rPr lang="hu-HU" sz="1600" baseline="0" noProof="0" dirty="0" smtClean="0"/>
                        <a:t> an expert</a:t>
                      </a:r>
                      <a:endParaRPr lang="en-GB" sz="1600" noProof="0" dirty="0"/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1393"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19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None/>
                      </a:pPr>
                      <a:r>
                        <a:rPr lang="hu-HU" sz="160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Your</a:t>
                      </a:r>
                      <a:r>
                        <a:rPr lang="hu-HU" sz="1600" baseline="0" dirty="0" smtClean="0">
                          <a:solidFill>
                            <a:schemeClr val="tx1"/>
                          </a:solidFill>
                          <a:latin typeface="Tele-GroteskNor" pitchFamily="2" charset="0"/>
                        </a:rPr>
                        <a:t> unique soft-skills</a:t>
                      </a:r>
                      <a:endParaRPr lang="en-US" sz="16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94489" marR="0" marT="84012" marB="84012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7488" indent="-217488" algn="l" eaLnBrk="1">
                        <a:lnSpc>
                          <a:spcPct val="104000"/>
                        </a:lnSpc>
                        <a:spcBef>
                          <a:spcPts val="300"/>
                        </a:spcBef>
                        <a:buClr>
                          <a:schemeClr val="tx1"/>
                        </a:buClr>
                        <a:buSzPct val="70000"/>
                        <a:buFont typeface="Wingdings 2" panose="05020102010507070707" pitchFamily="18" charset="2"/>
                        <a:buChar char="¡"/>
                      </a:pPr>
                      <a:endParaRPr lang="en-US" sz="2100" dirty="0">
                        <a:solidFill>
                          <a:schemeClr val="tx1"/>
                        </a:solidFill>
                        <a:latin typeface="Tele-GroteskNor" pitchFamily="2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" name="AutoShape 2" descr="Image result for pm tool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AutoShape 4" descr="Image result for pm tool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" name="AutoShape 6" descr="Image result for pm tools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8442" name="Picture 10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6605" y="1378642"/>
            <a:ext cx="2629184" cy="543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8940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</p:spTree>
    <p:extLst>
      <p:ext uri="{BB962C8B-B14F-4D97-AF65-F5344CB8AC3E}">
        <p14:creationId xmlns:p14="http://schemas.microsoft.com/office/powerpoint/2010/main" val="177993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0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 </a:t>
            </a:r>
            <a:r>
              <a:rPr lang="hu-HU" dirty="0" err="1" smtClean="0"/>
              <a:t>roles</a:t>
            </a:r>
            <a:r>
              <a:rPr lang="hu-HU" dirty="0" smtClean="0"/>
              <a:t> &amp; Tasks – </a:t>
            </a:r>
            <a:r>
              <a:rPr lang="hu-HU" dirty="0" err="1" smtClean="0"/>
              <a:t>on</a:t>
            </a:r>
            <a:r>
              <a:rPr lang="hu-HU" dirty="0" smtClean="0"/>
              <a:t> </a:t>
            </a:r>
            <a:r>
              <a:rPr lang="hu-HU" dirty="0" err="1" smtClean="0"/>
              <a:t>wide-scale</a:t>
            </a:r>
            <a:r>
              <a:rPr lang="hu-HU" dirty="0" smtClean="0"/>
              <a:t>				3/</a:t>
            </a:r>
            <a:r>
              <a:rPr lang="hu-HU" dirty="0" err="1" smtClean="0"/>
              <a:t>3</a:t>
            </a:r>
            <a:endParaRPr lang="hu-HU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880" y="2902927"/>
            <a:ext cx="9025128" cy="370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880" y="851004"/>
            <a:ext cx="9025128" cy="204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9715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1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management tool</a:t>
            </a:r>
            <a:endParaRPr lang="hu-HU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89" y="1188749"/>
            <a:ext cx="9822094" cy="2027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149380" y="1571946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1216180" y="1585644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2079209" y="1585643"/>
            <a:ext cx="421241" cy="924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304818" y="2631895"/>
            <a:ext cx="336433" cy="121579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4940157" y="2631895"/>
            <a:ext cx="336433" cy="21404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8041241" y="2585661"/>
            <a:ext cx="691793" cy="167814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664395" y="2666141"/>
            <a:ext cx="424666" cy="549667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2521" y="2823555"/>
            <a:ext cx="3750067" cy="426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 bwMode="gray">
          <a:xfrm>
            <a:off x="4025757" y="2845943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4025756" y="3019745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4025757" y="5699588"/>
            <a:ext cx="1250833" cy="95032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4025755" y="6667928"/>
            <a:ext cx="2241481" cy="267128"/>
          </a:xfrm>
          <a:prstGeom prst="rect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364706" y="3315802"/>
            <a:ext cx="2553089" cy="519210"/>
          </a:xfrm>
          <a:prstGeom prst="chevron">
            <a:avLst>
              <a:gd name="adj" fmla="val 5065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Derives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from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400" dirty="0" err="1" smtClean="0">
                <a:solidFill>
                  <a:srgbClr val="FFFFFF"/>
                </a:solidFill>
                <a:latin typeface="Tele-GroteskFet" pitchFamily="2" charset="0"/>
              </a:rPr>
              <a:t>Competence</a:t>
            </a:r>
            <a:r>
              <a:rPr lang="hu-HU" sz="1400" dirty="0" smtClean="0">
                <a:solidFill>
                  <a:srgbClr val="FFFFFF"/>
                </a:solidFill>
                <a:latin typeface="Tele-GroteskFet" pitchFamily="2" charset="0"/>
              </a:rPr>
              <a:t> </a:t>
            </a:r>
            <a:r>
              <a:rPr lang="hu-HU" sz="1200" dirty="0" smtClean="0">
                <a:solidFill>
                  <a:srgbClr val="FFFFFF"/>
                </a:solidFill>
                <a:latin typeface="Tele-GroteskFet" pitchFamily="2" charset="0"/>
              </a:rPr>
              <a:t>DB </a:t>
            </a:r>
            <a:r>
              <a:rPr lang="hu-HU" sz="1800" dirty="0" smtClean="0">
                <a:solidFill>
                  <a:srgbClr val="FFFFFF"/>
                </a:solidFill>
                <a:latin typeface="Tele-GroteskFet" pitchFamily="2" charset="0"/>
              </a:rPr>
              <a:t>                            </a:t>
            </a:r>
            <a:endParaRPr lang="en-US" sz="1800" dirty="0">
              <a:solidFill>
                <a:srgbClr val="FFFFFF"/>
              </a:solidFill>
              <a:latin typeface="Tele-GroteskFet" pitchFamily="2" charset="0"/>
            </a:endParaRPr>
          </a:p>
        </p:txBody>
      </p:sp>
      <p:sp>
        <p:nvSpPr>
          <p:cNvPr id="20" name="Inhaltsplatzhalter 6"/>
          <p:cNvSpPr txBox="1">
            <a:spLocks/>
          </p:cNvSpPr>
          <p:nvPr/>
        </p:nvSpPr>
        <p:spPr bwMode="gray">
          <a:xfrm>
            <a:off x="7060327" y="3309196"/>
            <a:ext cx="2653619" cy="1817608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20074"/>
              </a:buClr>
            </a:pPr>
            <a:r>
              <a:rPr lang="hu-HU" sz="1600" dirty="0" smtClean="0">
                <a:solidFill>
                  <a:srgbClr val="E20074"/>
                </a:solidFill>
              </a:rPr>
              <a:t>1. PM </a:t>
            </a:r>
            <a:r>
              <a:rPr lang="hu-HU" sz="1600" dirty="0" err="1" smtClean="0">
                <a:solidFill>
                  <a:srgbClr val="E20074"/>
                </a:solidFill>
              </a:rPr>
              <a:t>initiates</a:t>
            </a:r>
            <a:r>
              <a:rPr lang="hu-HU" sz="1600" dirty="0" smtClean="0">
                <a:solidFill>
                  <a:srgbClr val="E20074"/>
                </a:solidFill>
              </a:rPr>
              <a:t> </a:t>
            </a:r>
            <a:r>
              <a:rPr lang="hu-HU" sz="1600" dirty="0" err="1" smtClean="0">
                <a:solidFill>
                  <a:srgbClr val="E20074"/>
                </a:solidFill>
              </a:rPr>
              <a:t>request</a:t>
            </a:r>
            <a:endParaRPr lang="en-US" sz="1600" dirty="0" smtClean="0">
              <a:solidFill>
                <a:srgbClr val="E20074"/>
              </a:solidFill>
            </a:endParaRPr>
          </a:p>
          <a:p>
            <a:pPr lvl="1">
              <a:buClr>
                <a:srgbClr val="E20074"/>
              </a:buClr>
            </a:pPr>
            <a:r>
              <a:rPr lang="hu-HU" sz="1600" dirty="0" smtClean="0"/>
              <a:t>2. </a:t>
            </a:r>
            <a:r>
              <a:rPr lang="hu-HU" sz="1600" dirty="0" err="1" smtClean="0"/>
              <a:t>ReM</a:t>
            </a:r>
            <a:r>
              <a:rPr lang="hu-HU" sz="1600" dirty="0" smtClean="0"/>
              <a:t> Team </a:t>
            </a:r>
            <a:r>
              <a:rPr lang="hu-HU" sz="1600" dirty="0" err="1" smtClean="0"/>
              <a:t>accepts</a:t>
            </a:r>
            <a:endParaRPr lang="en-US" sz="1600" dirty="0" smtClean="0"/>
          </a:p>
          <a:p>
            <a:pPr marL="0" lvl="2" indent="0">
              <a:buClr>
                <a:srgbClr val="4B4B4B"/>
              </a:buClr>
              <a:buNone/>
            </a:pPr>
            <a:r>
              <a:rPr lang="hu-HU" sz="1600" dirty="0" smtClean="0"/>
              <a:t>3. </a:t>
            </a:r>
            <a:r>
              <a:rPr lang="hu-HU" sz="1600" dirty="0" err="1" smtClean="0"/>
              <a:t>Seek</a:t>
            </a:r>
            <a:r>
              <a:rPr lang="hu-HU" sz="1600" dirty="0" smtClean="0"/>
              <a:t> </a:t>
            </a:r>
            <a:r>
              <a:rPr lang="hu-HU" sz="1600" dirty="0" err="1" smtClean="0"/>
              <a:t>for</a:t>
            </a:r>
            <a:r>
              <a:rPr lang="hu-HU" sz="1600" dirty="0" smtClean="0"/>
              <a:t> </a:t>
            </a:r>
            <a:r>
              <a:rPr lang="hu-HU" sz="1600" dirty="0" err="1" smtClean="0"/>
              <a:t>suitable</a:t>
            </a:r>
            <a:r>
              <a:rPr lang="hu-HU" sz="1600" dirty="0" smtClean="0"/>
              <a:t> </a:t>
            </a:r>
            <a:r>
              <a:rPr lang="hu-HU" sz="1600" dirty="0" err="1" smtClean="0"/>
              <a:t>candidate</a:t>
            </a:r>
            <a:endParaRPr lang="en-US" sz="1600" dirty="0" smtClean="0"/>
          </a:p>
          <a:p>
            <a:pPr marL="216114" lvl="3" indent="0">
              <a:buClr>
                <a:srgbClr val="4B4B4B"/>
              </a:buClr>
              <a:buNone/>
            </a:pPr>
            <a:r>
              <a:rPr lang="hu-HU" sz="1600" dirty="0" smtClean="0"/>
              <a:t>4. </a:t>
            </a:r>
            <a:r>
              <a:rPr lang="hu-HU" sz="1600" dirty="0" err="1" smtClean="0"/>
              <a:t>Capacity</a:t>
            </a:r>
            <a:r>
              <a:rPr lang="hu-HU" sz="1600" dirty="0" smtClean="0"/>
              <a:t> is OK</a:t>
            </a:r>
          </a:p>
          <a:p>
            <a:pPr marL="216114" lvl="3" indent="0">
              <a:buClr>
                <a:srgbClr val="4B4B4B"/>
              </a:buClr>
              <a:buNone/>
            </a:pPr>
            <a:r>
              <a:rPr lang="hu-HU" sz="1600" dirty="0" smtClean="0"/>
              <a:t>5. </a:t>
            </a:r>
            <a:r>
              <a:rPr lang="hu-HU" sz="1600" dirty="0" err="1" smtClean="0"/>
              <a:t>Candidate</a:t>
            </a:r>
            <a:r>
              <a:rPr lang="hu-HU" sz="1600" dirty="0" smtClean="0"/>
              <a:t> </a:t>
            </a:r>
            <a:r>
              <a:rPr lang="hu-HU" sz="1600" dirty="0" err="1" smtClean="0"/>
              <a:t>approved</a:t>
            </a:r>
            <a:r>
              <a:rPr lang="hu-HU" sz="1600" dirty="0" smtClean="0"/>
              <a:t> </a:t>
            </a:r>
            <a:r>
              <a:rPr lang="hu-HU" sz="1600" dirty="0" err="1" smtClean="0"/>
              <a:t>by</a:t>
            </a:r>
            <a:r>
              <a:rPr lang="hu-HU" sz="1600" dirty="0" smtClean="0"/>
              <a:t> PM</a:t>
            </a:r>
            <a:endParaRPr lang="en-US" sz="16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2893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2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</a:t>
            </a:r>
            <a:r>
              <a:rPr lang="hu-HU" dirty="0" err="1" smtClean="0"/>
              <a:t>forecast</a:t>
            </a:r>
            <a:r>
              <a:rPr lang="hu-HU" dirty="0" smtClean="0"/>
              <a:t> </a:t>
            </a:r>
            <a:r>
              <a:rPr lang="hu-HU" dirty="0" err="1" smtClean="0"/>
              <a:t>report</a:t>
            </a:r>
            <a:endParaRPr lang="hu-HU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68" y="2321960"/>
            <a:ext cx="9687373" cy="3990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4" descr="Related imag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7081" y="396215"/>
            <a:ext cx="1925744" cy="1925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4613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3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esource </a:t>
            </a:r>
            <a:r>
              <a:rPr lang="hu-HU" dirty="0" err="1" smtClean="0"/>
              <a:t>forecast</a:t>
            </a:r>
            <a:r>
              <a:rPr lang="hu-HU" dirty="0" smtClean="0"/>
              <a:t> </a:t>
            </a:r>
            <a:r>
              <a:rPr lang="hu-HU" dirty="0" err="1" smtClean="0"/>
              <a:t>report</a:t>
            </a:r>
            <a:endParaRPr lang="hu-HU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738" y="1395413"/>
            <a:ext cx="9455150" cy="476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 descr="Image result for cos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6117" y="280800"/>
            <a:ext cx="3111771" cy="1947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79465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ommunication register – simple</a:t>
            </a:r>
            <a:endParaRPr lang="hu-HU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249" y="1177447"/>
            <a:ext cx="9540781" cy="373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7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5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ommunication </a:t>
            </a:r>
            <a:r>
              <a:rPr lang="hu-HU" dirty="0" err="1" smtClean="0"/>
              <a:t>calendar</a:t>
            </a:r>
            <a:endParaRPr lang="hu-HU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38" y="941923"/>
            <a:ext cx="9724802" cy="3383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38" y="4490556"/>
            <a:ext cx="9724802" cy="2349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452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6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Risk/</a:t>
            </a:r>
            <a:r>
              <a:rPr lang="hu-HU" dirty="0" err="1" smtClean="0"/>
              <a:t>issue</a:t>
            </a:r>
            <a:r>
              <a:rPr lang="hu-HU" dirty="0" smtClean="0"/>
              <a:t> log &amp; </a:t>
            </a:r>
            <a:r>
              <a:rPr lang="hu-HU" dirty="0" err="1" smtClean="0"/>
              <a:t>action</a:t>
            </a:r>
            <a:r>
              <a:rPr lang="hu-HU" dirty="0" smtClean="0"/>
              <a:t>  </a:t>
            </a:r>
            <a:r>
              <a:rPr lang="hu-HU" dirty="0" err="1" smtClean="0"/>
              <a:t>item</a:t>
            </a:r>
            <a:r>
              <a:rPr lang="hu-HU" dirty="0" smtClean="0"/>
              <a:t> </a:t>
            </a:r>
            <a:r>
              <a:rPr lang="hu-HU" dirty="0" err="1" smtClean="0"/>
              <a:t>list</a:t>
            </a:r>
            <a:endParaRPr lang="hu-HU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50" y="1104740"/>
            <a:ext cx="9712012" cy="3333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6091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5">
            <a:extLst>
              <a:ext uri="{FF2B5EF4-FFF2-40B4-BE49-F238E27FC236}">
                <a16:creationId xmlns="" xmlns:a16="http://schemas.microsoft.com/office/drawing/2014/main" id="{E3F1FA75-25B8-4B3D-8350-04D0DD51C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1487374"/>
            <a:ext cx="2230437" cy="1365899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Red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167718DA-4931-4E02-BA84-B4B31D0A8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MO’s </a:t>
            </a:r>
            <a:r>
              <a:rPr lang="hu-HU" dirty="0" err="1" smtClean="0"/>
              <a:t>Reporting</a:t>
            </a:r>
            <a:r>
              <a:rPr lang="hu-HU" dirty="0" smtClean="0"/>
              <a:t> </a:t>
            </a:r>
            <a:r>
              <a:rPr lang="hu-HU" dirty="0" err="1" smtClean="0"/>
              <a:t>basics</a:t>
            </a:r>
            <a:r>
              <a:rPr lang="hu-HU" dirty="0" smtClean="0"/>
              <a:t> 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081DC43D-3ED0-408C-81CF-64738FA111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sp>
        <p:nvSpPr>
          <p:cNvPr id="5" name="Freeform 8">
            <a:extLst>
              <a:ext uri="{FF2B5EF4-FFF2-40B4-BE49-F238E27FC236}">
                <a16:creationId xmlns="" xmlns:a16="http://schemas.microsoft.com/office/drawing/2014/main" id="{9FD711AF-D54B-4CA8-9CE2-455283797969}"/>
              </a:ext>
            </a:extLst>
          </p:cNvPr>
          <p:cNvSpPr>
            <a:spLocks/>
          </p:cNvSpPr>
          <p:nvPr/>
        </p:nvSpPr>
        <p:spPr bwMode="gray">
          <a:xfrm>
            <a:off x="2736850" y="1487374"/>
            <a:ext cx="6983150" cy="1365899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Critical issues could not be solved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Management </a:t>
            </a:r>
            <a:r>
              <a:rPr lang="en-US" sz="1600">
                <a:latin typeface="+mn-lt"/>
                <a:ea typeface="+mn-ea"/>
              </a:rPr>
              <a:t>review </a:t>
            </a:r>
            <a:r>
              <a:rPr lang="hu-HU" sz="1600" smtClean="0">
                <a:latin typeface="+mn-lt"/>
                <a:ea typeface="+mn-ea"/>
              </a:rPr>
              <a:t>and decisions are </a:t>
            </a:r>
            <a:r>
              <a:rPr lang="en-US" sz="1600" smtClean="0">
                <a:latin typeface="+mn-lt"/>
                <a:ea typeface="+mn-ea"/>
              </a:rPr>
              <a:t>necessary</a:t>
            </a:r>
            <a:r>
              <a:rPr lang="hu-HU" sz="1600"/>
              <a:t>,</a:t>
            </a:r>
            <a:r>
              <a:rPr lang="en-US" sz="1600" smtClean="0">
                <a:latin typeface="+mn-lt"/>
                <a:ea typeface="+mn-ea"/>
              </a:rPr>
              <a:t> </a:t>
            </a:r>
            <a:r>
              <a:rPr lang="en-US" sz="1600" dirty="0">
                <a:latin typeface="+mn-lt"/>
                <a:ea typeface="+mn-ea"/>
              </a:rPr>
              <a:t>the impact on business case and/or contractual milestone is likely or visible already</a:t>
            </a:r>
            <a:r>
              <a:rPr lang="en-US" sz="1600">
                <a:latin typeface="+mn-lt"/>
                <a:ea typeface="+mn-ea"/>
              </a:rPr>
              <a:t>. </a:t>
            </a:r>
            <a:r>
              <a:rPr lang="en-US" sz="1600" smtClean="0">
                <a:latin typeface="+mn-lt"/>
                <a:ea typeface="+mn-ea"/>
              </a:rPr>
              <a:t>(</a:t>
            </a:r>
            <a:r>
              <a:rPr lang="en-US" sz="1600" dirty="0">
                <a:latin typeface="+mn-lt"/>
                <a:ea typeface="+mn-ea"/>
              </a:rPr>
              <a:t>e.g. agree on new budgets).</a:t>
            </a:r>
          </a:p>
        </p:txBody>
      </p:sp>
      <p:sp>
        <p:nvSpPr>
          <p:cNvPr id="7" name="Freeform 8">
            <a:extLst>
              <a:ext uri="{FF2B5EF4-FFF2-40B4-BE49-F238E27FC236}">
                <a16:creationId xmlns="" xmlns:a16="http://schemas.microsoft.com/office/drawing/2014/main" id="{AEC79F10-D0AD-461D-9AB8-D6297195EEBD}"/>
              </a:ext>
            </a:extLst>
          </p:cNvPr>
          <p:cNvSpPr>
            <a:spLocks/>
          </p:cNvSpPr>
          <p:nvPr/>
        </p:nvSpPr>
        <p:spPr bwMode="gray">
          <a:xfrm>
            <a:off x="2736850" y="2930272"/>
            <a:ext cx="6983150" cy="1365898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Might require management review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Critical issues are identified or not yet solved</a:t>
            </a:r>
            <a:r>
              <a:rPr lang="en-US" sz="1600">
                <a:latin typeface="+mn-lt"/>
                <a:ea typeface="+mn-ea"/>
              </a:rPr>
              <a:t>. </a:t>
            </a:r>
            <a:r>
              <a:rPr lang="en-US" sz="1600" smtClean="0">
                <a:latin typeface="+mn-lt"/>
                <a:ea typeface="+mn-ea"/>
              </a:rPr>
              <a:t>If </a:t>
            </a:r>
            <a:r>
              <a:rPr lang="en-US" sz="1600" dirty="0">
                <a:latin typeface="+mn-lt"/>
                <a:ea typeface="+mn-ea"/>
              </a:rPr>
              <a:t>issues are not solved within reasonable timeframe they will impact the business case and/or the deliverables.</a:t>
            </a:r>
          </a:p>
        </p:txBody>
      </p:sp>
      <p:sp>
        <p:nvSpPr>
          <p:cNvPr id="8" name="AutoShape 5">
            <a:extLst>
              <a:ext uri="{FF2B5EF4-FFF2-40B4-BE49-F238E27FC236}">
                <a16:creationId xmlns="" xmlns:a16="http://schemas.microsoft.com/office/drawing/2014/main" id="{9C84BE24-FA41-4FAA-AC48-8A9A35092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2932176"/>
            <a:ext cx="2230437" cy="1365441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Amber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="" xmlns:a16="http://schemas.microsoft.com/office/drawing/2014/main" id="{9995CD61-1577-4379-A7F8-F00F59EE9B2F}"/>
              </a:ext>
            </a:extLst>
          </p:cNvPr>
          <p:cNvSpPr>
            <a:spLocks/>
          </p:cNvSpPr>
          <p:nvPr/>
        </p:nvSpPr>
        <p:spPr bwMode="gray">
          <a:xfrm>
            <a:off x="2736850" y="4373168"/>
            <a:ext cx="6983150" cy="1368563"/>
          </a:xfrm>
          <a:prstGeom prst="rect">
            <a:avLst/>
          </a:prstGeom>
          <a:solidFill>
            <a:schemeClr val="bg1"/>
          </a:solidFill>
          <a:ln w="19050" cap="sq" cmpd="sng">
            <a:solidFill>
              <a:srgbClr val="6C6C6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72000" rIns="108000" bIns="72000" anchor="t"/>
          <a:lstStyle/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No extra attention and action required.</a:t>
            </a:r>
          </a:p>
          <a:p>
            <a:pPr marL="216000" indent="-216000" defTabSz="1152144" eaLnBrk="1" hangingPunct="1">
              <a:lnSpc>
                <a:spcPct val="1040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en-US" sz="1600" dirty="0">
                <a:latin typeface="+mn-lt"/>
                <a:ea typeface="+mn-ea"/>
              </a:rPr>
              <a:t>All critical issues are under </a:t>
            </a:r>
            <a:r>
              <a:rPr lang="en-US" sz="1600">
                <a:latin typeface="+mn-lt"/>
                <a:ea typeface="+mn-ea"/>
              </a:rPr>
              <a:t>control</a:t>
            </a:r>
            <a:r>
              <a:rPr lang="en-US" sz="1600" smtClean="0">
                <a:latin typeface="+mn-lt"/>
                <a:ea typeface="+mn-ea"/>
              </a:rPr>
              <a:t>. </a:t>
            </a:r>
            <a:r>
              <a:rPr lang="en-US" sz="1600" dirty="0">
                <a:latin typeface="+mn-lt"/>
                <a:ea typeface="+mn-ea"/>
              </a:rPr>
              <a:t>Business case and deliverables are on track. Customer is satisfied with T-Systems overall.</a:t>
            </a:r>
          </a:p>
        </p:txBody>
      </p:sp>
      <p:sp>
        <p:nvSpPr>
          <p:cNvPr id="10" name="AutoShape 5">
            <a:extLst>
              <a:ext uri="{FF2B5EF4-FFF2-40B4-BE49-F238E27FC236}">
                <a16:creationId xmlns="" xmlns:a16="http://schemas.microsoft.com/office/drawing/2014/main" id="{A4D59A33-46FF-40FA-A920-C616675DF6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4" y="4373170"/>
            <a:ext cx="2230437" cy="1368563"/>
          </a:xfrm>
          <a:prstGeom prst="rect">
            <a:avLst/>
          </a:prstGeom>
          <a:solidFill>
            <a:srgbClr val="6C6C6C"/>
          </a:solidFill>
          <a:ln w="19050" cap="sq" algn="ctr">
            <a:solidFill>
              <a:srgbClr val="6C6C6C"/>
            </a:solidFill>
            <a:miter lim="800000"/>
            <a:headEnd/>
            <a:tailEnd/>
          </a:ln>
          <a:effectLst/>
        </p:spPr>
        <p:txBody>
          <a:bodyPr lIns="108000" tIns="72000" rIns="108000" bIns="72000"/>
          <a:lstStyle/>
          <a:p>
            <a:pPr defTabSz="914400">
              <a:lnSpc>
                <a:spcPct val="90000"/>
              </a:lnSpc>
              <a:spcBef>
                <a:spcPct val="0"/>
              </a:spcBef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  <a:cs typeface="Arial Unicode MS"/>
              </a:rPr>
              <a:t>Green</a:t>
            </a:r>
          </a:p>
        </p:txBody>
      </p:sp>
      <p:pic>
        <p:nvPicPr>
          <p:cNvPr id="11" name="Grafik 10" descr="https://epmts.t-systems.com/_layouts/15/images/TS.EPM.Report/TrafficLight_Red_small.png">
            <a:extLst>
              <a:ext uri="{FF2B5EF4-FFF2-40B4-BE49-F238E27FC236}">
                <a16:creationId xmlns="" xmlns:a16="http://schemas.microsoft.com/office/drawing/2014/main" id="{9043A0A6-348F-45FC-A177-13CD25B335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1" y="1630781"/>
            <a:ext cx="454528" cy="1079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rafik 11" descr="https://epmts.t-systems.com/_layouts/15/images/TS.EPM.Report/TrafficLight_Yellow_small.png">
            <a:extLst>
              <a:ext uri="{FF2B5EF4-FFF2-40B4-BE49-F238E27FC236}">
                <a16:creationId xmlns="" xmlns:a16="http://schemas.microsoft.com/office/drawing/2014/main" id="{DD145ABA-14BF-4A69-82F5-E70A5D4804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1" y="3073679"/>
            <a:ext cx="454528" cy="1079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 descr="https://epmts.t-systems.com/_layouts/15/images/TS.EPM.Report/TrafficLight_Green_small.png">
            <a:extLst>
              <a:ext uri="{FF2B5EF4-FFF2-40B4-BE49-F238E27FC236}">
                <a16:creationId xmlns="" xmlns:a16="http://schemas.microsoft.com/office/drawing/2014/main" id="{C97C988D-23D2-418F-AFBB-272A6FAA1D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0" y="4517450"/>
            <a:ext cx="454887" cy="10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hteck 13">
            <a:extLst>
              <a:ext uri="{FF2B5EF4-FFF2-40B4-BE49-F238E27FC236}">
                <a16:creationId xmlns="" xmlns:a16="http://schemas.microsoft.com/office/drawing/2014/main" id="{F7DF7777-D152-439B-B78E-7B8440A67977}"/>
              </a:ext>
            </a:extLst>
          </p:cNvPr>
          <p:cNvSpPr/>
          <p:nvPr/>
        </p:nvSpPr>
        <p:spPr bwMode="gray">
          <a:xfrm>
            <a:off x="360364" y="5879423"/>
            <a:ext cx="9359637" cy="676266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8000" tIns="72000" rIns="36000" bIns="72000" rtlCol="0" anchor="ctr" anchorCtr="0"/>
          <a:lstStyle/>
          <a:p>
            <a:pPr algn="ctr" defTabSz="457293" fontAlgn="base">
              <a:lnSpc>
                <a:spcPct val="90000"/>
              </a:lnSpc>
              <a:spcBef>
                <a:spcPts val="900"/>
              </a:spcBef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Always applicable: If project status or one of the reported KPIs (time, budget, quality) </a:t>
            </a:r>
            <a:br>
              <a:rPr lang="en-US" sz="1800" dirty="0">
                <a:solidFill>
                  <a:schemeClr val="bg1"/>
                </a:solidFill>
                <a:latin typeface="Tele-GroteskFet" pitchFamily="2" charset="0"/>
              </a:rPr>
            </a:b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is not green, back to green measures need to be set up as soon as possible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7728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4513" y="3535349"/>
            <a:ext cx="2695575" cy="284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28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PMO success factors</a:t>
            </a:r>
            <a:endParaRPr lang="en-US"/>
          </a:p>
        </p:txBody>
      </p:sp>
      <p:sp>
        <p:nvSpPr>
          <p:cNvPr id="6" name="Rectangle 21"/>
          <p:cNvSpPr>
            <a:spLocks noChangeAspect="1" noChangeArrowheads="1"/>
          </p:cNvSpPr>
          <p:nvPr/>
        </p:nvSpPr>
        <p:spPr bwMode="gray">
          <a:xfrm rot="21180000">
            <a:off x="2200417" y="721240"/>
            <a:ext cx="2194710" cy="219471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The role of the PMO must be clearly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defined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7" name="Rectangle 21"/>
          <p:cNvSpPr>
            <a:spLocks noChangeAspect="1" noChangeArrowheads="1"/>
          </p:cNvSpPr>
          <p:nvPr/>
        </p:nvSpPr>
        <p:spPr bwMode="gray">
          <a:xfrm>
            <a:off x="4685871" y="454891"/>
            <a:ext cx="2893522" cy="289352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2200" smtClean="0">
                <a:solidFill>
                  <a:schemeClr val="bg1"/>
                </a:solidFill>
                <a:latin typeface="TeleGrotesk Headline Ultra" pitchFamily="2" charset="0"/>
              </a:rPr>
              <a:t>commitment </a:t>
            </a:r>
            <a:r>
              <a:rPr lang="en-US" altLang="de-DE" sz="2200">
                <a:solidFill>
                  <a:schemeClr val="bg1"/>
                </a:solidFill>
                <a:latin typeface="TeleGrotesk Headline Ultra" pitchFamily="2" charset="0"/>
              </a:rPr>
              <a:t>of executive management is </a:t>
            </a:r>
            <a:r>
              <a:rPr lang="hu-HU" altLang="de-DE" sz="2200" smtClean="0">
                <a:solidFill>
                  <a:schemeClr val="bg1"/>
                </a:solidFill>
                <a:latin typeface="TeleGrotesk Headline Ultra" pitchFamily="2" charset="0"/>
              </a:rPr>
              <a:t>crucial</a:t>
            </a:r>
            <a:endParaRPr lang="en-US" altLang="de-DE" sz="22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8" name="Rectangle 21"/>
          <p:cNvSpPr>
            <a:spLocks noChangeAspect="1" noChangeArrowheads="1"/>
          </p:cNvSpPr>
          <p:nvPr/>
        </p:nvSpPr>
        <p:spPr bwMode="gray">
          <a:xfrm rot="301430">
            <a:off x="6598965" y="3613398"/>
            <a:ext cx="2995625" cy="299562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The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PMO will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only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improve project performance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if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usage of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proper processes </a:t>
            </a:r>
            <a:r>
              <a:rPr lang="en-US" altLang="de-DE" sz="1800">
                <a:solidFill>
                  <a:srgbClr val="000000"/>
                </a:solidFill>
                <a:latin typeface="TeleGrotesk Headline Ultra" pitchFamily="2" charset="0"/>
              </a:rPr>
              <a:t>and </a:t>
            </a:r>
            <a:r>
              <a:rPr lang="en-US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techniques</a:t>
            </a: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 are encouraged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9" name="Rectangle 21"/>
          <p:cNvSpPr>
            <a:spLocks noChangeAspect="1" noChangeArrowheads="1"/>
          </p:cNvSpPr>
          <p:nvPr/>
        </p:nvSpPr>
        <p:spPr bwMode="gray">
          <a:xfrm rot="21123536">
            <a:off x="336879" y="2416507"/>
            <a:ext cx="2237417" cy="2237417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Not mature enough?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Focus on 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Quick-wins</a:t>
            </a:r>
            <a:endParaRPr lang="en-US" altLang="de-DE" sz="200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 rot="21418032">
            <a:off x="1674025" y="4592459"/>
            <a:ext cx="2088196" cy="2088196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 Ultra" pitchFamily="2" charset="0"/>
              </a:rPr>
              <a:t>Pmp certification for mature PMO members</a:t>
            </a: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 rot="290906">
            <a:off x="7669283" y="969665"/>
            <a:ext cx="2221091" cy="2221091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2000">
                <a:solidFill>
                  <a:srgbClr val="000000"/>
                </a:solidFill>
                <a:latin typeface="TeleGrotesk Headline Ultra" pitchFamily="2" charset="0"/>
              </a:rPr>
              <a:t>Learn how to walk before you 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t</a:t>
            </a:r>
            <a:r>
              <a:rPr lang="hu-HU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ry</a:t>
            </a:r>
            <a:r>
              <a:rPr lang="en-US" altLang="de-DE" sz="2000" smtClean="0">
                <a:solidFill>
                  <a:srgbClr val="000000"/>
                </a:solidFill>
                <a:latin typeface="TeleGrotesk Headline Ultra" pitchFamily="2" charset="0"/>
              </a:rPr>
              <a:t> </a:t>
            </a:r>
            <a:r>
              <a:rPr lang="en-US" altLang="de-DE" sz="2000">
                <a:solidFill>
                  <a:srgbClr val="000000"/>
                </a:solidFill>
                <a:latin typeface="TeleGrotesk Headline Ultra" pitchFamily="2" charset="0"/>
              </a:rPr>
              <a:t>to run</a:t>
            </a:r>
          </a:p>
        </p:txBody>
      </p:sp>
    </p:spTree>
    <p:extLst>
      <p:ext uri="{BB962C8B-B14F-4D97-AF65-F5344CB8AC3E}">
        <p14:creationId xmlns:p14="http://schemas.microsoft.com/office/powerpoint/2010/main" val="373475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</p:spTree>
    <p:extLst>
      <p:ext uri="{BB962C8B-B14F-4D97-AF65-F5344CB8AC3E}">
        <p14:creationId xmlns:p14="http://schemas.microsoft.com/office/powerpoint/2010/main" val="196390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43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1" name="Rectangle 21"/>
          <p:cNvSpPr>
            <a:spLocks noChangeAspect="1" noChangeArrowheads="1"/>
          </p:cNvSpPr>
          <p:nvPr/>
        </p:nvSpPr>
        <p:spPr bwMode="gray">
          <a:xfrm>
            <a:off x="454320" y="5107494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0" name="Rectangle 21"/>
          <p:cNvSpPr>
            <a:spLocks noChangeAspect="1" noChangeArrowheads="1"/>
          </p:cNvSpPr>
          <p:nvPr/>
        </p:nvSpPr>
        <p:spPr bwMode="gray">
          <a:xfrm>
            <a:off x="609267" y="3868965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9" name="Rectangle 21"/>
          <p:cNvSpPr>
            <a:spLocks noChangeAspect="1" noChangeArrowheads="1"/>
          </p:cNvSpPr>
          <p:nvPr/>
        </p:nvSpPr>
        <p:spPr bwMode="gray">
          <a:xfrm>
            <a:off x="2595501" y="5366706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4" name="Rectangle 21"/>
          <p:cNvSpPr>
            <a:spLocks noChangeAspect="1" noChangeArrowheads="1"/>
          </p:cNvSpPr>
          <p:nvPr/>
        </p:nvSpPr>
        <p:spPr bwMode="gray">
          <a:xfrm>
            <a:off x="1231900" y="4362741"/>
            <a:ext cx="1823977" cy="1823977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sp>
        <p:nvSpPr>
          <p:cNvPr id="25" name="Rectangle 24"/>
          <p:cNvSpPr/>
          <p:nvPr/>
        </p:nvSpPr>
        <p:spPr>
          <a:xfrm>
            <a:off x="3816000" y="6123017"/>
            <a:ext cx="12515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90s</a:t>
            </a:r>
            <a:endParaRPr lang="hu-HU" sz="2400"/>
          </a:p>
        </p:txBody>
      </p:sp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9" name="Picture 23" descr="Machine generated alternative text: 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88" y="4713053"/>
            <a:ext cx="1317402" cy="53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0" name="Picture 24" descr="Machine generated alternative text: AXELOS&#10;ctOBAL  2RCTIC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5222" y="5625228"/>
            <a:ext cx="1675770" cy="501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1" name="Picture 25" descr="Machine generated alternative text: IIIAA —&#10;I I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56" y="5397455"/>
            <a:ext cx="1169926" cy="45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2" name="Picture 2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957" y="4264056"/>
            <a:ext cx="17430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226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14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07990" y="3762741"/>
            <a:ext cx="1253331" cy="1253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0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7814" y="5274730"/>
            <a:ext cx="801680" cy="1129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21"/>
          <p:cNvSpPr>
            <a:spLocks noChangeAspect="1" noChangeArrowheads="1"/>
          </p:cNvSpPr>
          <p:nvPr/>
        </p:nvSpPr>
        <p:spPr bwMode="gray">
          <a:xfrm>
            <a:off x="360001" y="1120085"/>
            <a:ext cx="1499669" cy="1499669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368300">
              <a:schemeClr val="accent4">
                <a:lumMod val="60000"/>
                <a:lumOff val="40000"/>
                <a:alpha val="98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1" name="Rectangle 21"/>
          <p:cNvSpPr>
            <a:spLocks noChangeAspect="1" noChangeArrowheads="1"/>
          </p:cNvSpPr>
          <p:nvPr/>
        </p:nvSpPr>
        <p:spPr bwMode="gray">
          <a:xfrm>
            <a:off x="454320" y="5107494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50" name="Rectangle 21"/>
          <p:cNvSpPr>
            <a:spLocks noChangeAspect="1" noChangeArrowheads="1"/>
          </p:cNvSpPr>
          <p:nvPr/>
        </p:nvSpPr>
        <p:spPr bwMode="gray">
          <a:xfrm>
            <a:off x="609267" y="3868965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49" name="Rectangle 21"/>
          <p:cNvSpPr>
            <a:spLocks noChangeAspect="1" noChangeArrowheads="1"/>
          </p:cNvSpPr>
          <p:nvPr/>
        </p:nvSpPr>
        <p:spPr bwMode="gray">
          <a:xfrm>
            <a:off x="2595501" y="5366706"/>
            <a:ext cx="1113234" cy="111323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pic>
        <p:nvPicPr>
          <p:cNvPr id="29709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6988" y="3796615"/>
            <a:ext cx="1016214" cy="1185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3" name="Picture 1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7223" y="4264056"/>
            <a:ext cx="1231961" cy="115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History of PMO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7" name="Rectangle 6"/>
          <p:cNvSpPr/>
          <p:nvPr/>
        </p:nvSpPr>
        <p:spPr>
          <a:xfrm>
            <a:off x="632958" y="2619754"/>
            <a:ext cx="953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10</a:t>
            </a:r>
          </a:p>
        </p:txBody>
      </p:sp>
      <p:sp>
        <p:nvSpPr>
          <p:cNvPr id="10" name="Rectangle 21"/>
          <p:cNvSpPr>
            <a:spLocks noChangeAspect="1" noChangeArrowheads="1"/>
          </p:cNvSpPr>
          <p:nvPr/>
        </p:nvSpPr>
        <p:spPr bwMode="gray">
          <a:xfrm>
            <a:off x="2775745" y="1694201"/>
            <a:ext cx="1315634" cy="131563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glow rad="419100">
              <a:schemeClr val="accent5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1" name="Rectangle 21"/>
          <p:cNvSpPr>
            <a:spLocks noChangeAspect="1" noChangeArrowheads="1"/>
          </p:cNvSpPr>
          <p:nvPr/>
        </p:nvSpPr>
        <p:spPr bwMode="gray">
          <a:xfrm>
            <a:off x="6689322" y="1851876"/>
            <a:ext cx="1698693" cy="16986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glow rad="190500">
              <a:schemeClr val="accent2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2" name="Rectangle 21"/>
          <p:cNvSpPr>
            <a:spLocks noChangeAspect="1" noChangeArrowheads="1"/>
          </p:cNvSpPr>
          <p:nvPr/>
        </p:nvSpPr>
        <p:spPr bwMode="gray">
          <a:xfrm>
            <a:off x="5319241" y="1043714"/>
            <a:ext cx="1699949" cy="1699949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bg2">
                <a:lumMod val="75000"/>
              </a:schemeClr>
            </a:solidFill>
          </a:ln>
          <a:effectLst>
            <a:glow rad="419100">
              <a:schemeClr val="accent3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4" name="Rectangle 21"/>
          <p:cNvSpPr>
            <a:spLocks noChangeAspect="1" noChangeArrowheads="1"/>
          </p:cNvSpPr>
          <p:nvPr/>
        </p:nvSpPr>
        <p:spPr bwMode="gray">
          <a:xfrm>
            <a:off x="1231900" y="4362741"/>
            <a:ext cx="1823977" cy="1823977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</a:ln>
          <a:effectLst>
            <a:glow rad="2540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altLang="de-DE" sz="18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15" name="Rectangle 21"/>
          <p:cNvSpPr>
            <a:spLocks noChangeAspect="1" noChangeArrowheads="1"/>
          </p:cNvSpPr>
          <p:nvPr/>
        </p:nvSpPr>
        <p:spPr bwMode="gray">
          <a:xfrm>
            <a:off x="4854778" y="3854424"/>
            <a:ext cx="845077" cy="657067"/>
          </a:xfrm>
          <a:prstGeom prst="irregularSeal1">
            <a:avLst/>
          </a:prstGeom>
          <a:ln/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-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25" y="1281718"/>
            <a:ext cx="1024820" cy="1176401"/>
          </a:xfrm>
          <a:prstGeom prst="rect">
            <a:avLst/>
          </a:prstGeom>
          <a:gradFill>
            <a:gsLst>
              <a:gs pos="56000">
                <a:schemeClr val="accent5">
                  <a:lumMod val="75000"/>
                </a:schemeClr>
              </a:gs>
              <a:gs pos="0">
                <a:schemeClr val="accent3"/>
              </a:gs>
              <a:gs pos="80000">
                <a:schemeClr val="accent4">
                  <a:lumMod val="40000"/>
                  <a:lumOff val="60000"/>
                </a:schemeClr>
              </a:gs>
            </a:gsLst>
            <a:lin ang="10800000" scaled="1"/>
          </a:gradFill>
          <a:ln>
            <a:noFill/>
          </a:ln>
          <a:effectLst>
            <a:softEdge rad="266700"/>
          </a:effec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6000" y="511261"/>
            <a:ext cx="313547" cy="2980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458032" y="1209558"/>
            <a:ext cx="11449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/>
              <a:t>1950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46868" y="1032486"/>
            <a:ext cx="1348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80s</a:t>
            </a:r>
            <a:endParaRPr lang="hu-HU" sz="2400"/>
          </a:p>
        </p:txBody>
      </p:sp>
      <p:sp>
        <p:nvSpPr>
          <p:cNvPr id="25" name="Rectangle 24"/>
          <p:cNvSpPr/>
          <p:nvPr/>
        </p:nvSpPr>
        <p:spPr>
          <a:xfrm>
            <a:off x="3816000" y="6123017"/>
            <a:ext cx="12515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400"/>
              <a:t> </a:t>
            </a:r>
            <a:r>
              <a:rPr lang="hu-HU" sz="2400" smtClean="0"/>
              <a:t>1990s</a:t>
            </a:r>
            <a:endParaRPr lang="hu-HU" sz="2400"/>
          </a:p>
        </p:txBody>
      </p:sp>
      <p:sp>
        <p:nvSpPr>
          <p:cNvPr id="26" name="Rectangle 21"/>
          <p:cNvSpPr>
            <a:spLocks noChangeAspect="1" noChangeArrowheads="1"/>
          </p:cNvSpPr>
          <p:nvPr/>
        </p:nvSpPr>
        <p:spPr bwMode="gray">
          <a:xfrm>
            <a:off x="8421069" y="3796615"/>
            <a:ext cx="657067" cy="657067"/>
          </a:xfrm>
          <a:prstGeom prst="ellipse">
            <a:avLst/>
          </a:prstGeom>
          <a:ln/>
          <a:ex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sp>
        <p:nvSpPr>
          <p:cNvPr id="27" name="Rectangle 21"/>
          <p:cNvSpPr>
            <a:spLocks noChangeAspect="1" noChangeArrowheads="1"/>
          </p:cNvSpPr>
          <p:nvPr/>
        </p:nvSpPr>
        <p:spPr bwMode="gray">
          <a:xfrm>
            <a:off x="8970649" y="5044880"/>
            <a:ext cx="695918" cy="643652"/>
          </a:xfrm>
          <a:prstGeom prst="pentagon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/>
            </a:solidFill>
          </a:ln>
          <a:ex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sp>
        <p:nvSpPr>
          <p:cNvPr id="28" name="Rectangle 21"/>
          <p:cNvSpPr>
            <a:spLocks noChangeAspect="1" noChangeArrowheads="1"/>
          </p:cNvSpPr>
          <p:nvPr/>
        </p:nvSpPr>
        <p:spPr bwMode="gray">
          <a:xfrm>
            <a:off x="7063900" y="6026563"/>
            <a:ext cx="985601" cy="657067"/>
          </a:xfrm>
          <a:prstGeom prst="cloud">
            <a:avLst/>
          </a:prstGeom>
          <a:ln/>
          <a:ex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smtClean="0">
                <a:solidFill>
                  <a:srgbClr val="000000"/>
                </a:solidFill>
                <a:latin typeface="TeleGrotesk Headline" pitchFamily="2" charset="0"/>
              </a:rPr>
              <a:t>PMO</a:t>
            </a:r>
            <a:endParaRPr lang="en-US" altLang="de-DE" sz="1800" dirty="0">
              <a:solidFill>
                <a:srgbClr val="000000"/>
              </a:solidFill>
              <a:latin typeface="TeleGrotesk Headline" pitchFamily="2" charset="0"/>
            </a:endParaRPr>
          </a:p>
        </p:txBody>
      </p:sp>
      <p:pic>
        <p:nvPicPr>
          <p:cNvPr id="29712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5095" y="4982199"/>
            <a:ext cx="835554" cy="110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1" name="Picture 1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557424" y="5016072"/>
            <a:ext cx="790390" cy="97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5" name="Picture 19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0117" y="1314066"/>
            <a:ext cx="1719174" cy="1195235"/>
          </a:xfrm>
          <a:prstGeom prst="rect">
            <a:avLst/>
          </a:prstGeom>
          <a:noFill/>
          <a:ln>
            <a:noFill/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6" name="Picture 20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2410" y="2001684"/>
            <a:ext cx="1588163" cy="1047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19" name="Picture 23" descr="Machine generated alternative text: 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3888" y="4713053"/>
            <a:ext cx="1317402" cy="53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0" name="Picture 24" descr="Machine generated alternative text: AXELOS&#10;ctOBAL  2RCTIC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5222" y="5625228"/>
            <a:ext cx="1675770" cy="501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1" name="Picture 25" descr="Machine generated alternative text: IIIAA —&#10;I I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156" y="5397455"/>
            <a:ext cx="1169926" cy="45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22" name="Picture 2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957" y="4264056"/>
            <a:ext cx="17430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76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Definition of </a:t>
            </a:r>
            <a:r>
              <a:rPr lang="en-US" smtClean="0"/>
              <a:t>pmo</a:t>
            </a:r>
            <a:endParaRPr lang="en-US" sz="2400">
              <a:latin typeface="TeleGrotesk Headline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18824" y="1371460"/>
            <a:ext cx="63771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400"/>
              <a:t>A</a:t>
            </a:r>
            <a:r>
              <a:rPr lang="hu-HU" sz="2400" smtClean="0"/>
              <a:t> </a:t>
            </a:r>
            <a:r>
              <a:rPr lang="hu-HU" sz="2400"/>
              <a:t>group or department </a:t>
            </a:r>
            <a:r>
              <a:rPr lang="hu-HU" sz="2400" smtClean="0"/>
              <a:t>that </a:t>
            </a:r>
            <a:r>
              <a:rPr lang="hu-HU" sz="2400">
                <a:solidFill>
                  <a:schemeClr val="tx2"/>
                </a:solidFill>
              </a:rPr>
              <a:t>defines</a:t>
            </a:r>
            <a:r>
              <a:rPr lang="hu-HU" sz="2400"/>
              <a:t> and </a:t>
            </a:r>
            <a:r>
              <a:rPr lang="hu-HU" sz="2400">
                <a:solidFill>
                  <a:schemeClr val="tx2"/>
                </a:solidFill>
              </a:rPr>
              <a:t>maintains</a:t>
            </a:r>
            <a:r>
              <a:rPr lang="hu-HU" sz="2400"/>
              <a:t> project management </a:t>
            </a:r>
            <a:r>
              <a:rPr lang="hu-HU" sz="2400">
                <a:solidFill>
                  <a:schemeClr val="tx2"/>
                </a:solidFill>
              </a:rPr>
              <a:t>standards</a:t>
            </a:r>
            <a:r>
              <a:rPr lang="hu-HU" sz="2400"/>
              <a:t> across an organization</a:t>
            </a:r>
            <a:r>
              <a:rPr lang="hu-HU" sz="2400" smtClean="0"/>
              <a:t>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7</a:t>
            </a:fld>
            <a:endParaRPr lang="en-US" noProof="0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1" y="1200534"/>
            <a:ext cx="2417923" cy="2409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8031" y="2845192"/>
            <a:ext cx="2129028" cy="1430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330832" y="3841407"/>
            <a:ext cx="6187199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200" smtClean="0"/>
              <a:t>The </a:t>
            </a:r>
            <a:r>
              <a:rPr lang="hu-HU" sz="2200"/>
              <a:t>keeper of </a:t>
            </a:r>
            <a:r>
              <a:rPr lang="hu-HU" sz="2200">
                <a:solidFill>
                  <a:schemeClr val="tx2"/>
                </a:solidFill>
              </a:rPr>
              <a:t>documentation, guidance</a:t>
            </a:r>
            <a:r>
              <a:rPr lang="hu-HU" sz="2200"/>
              <a:t>, and </a:t>
            </a:r>
            <a:r>
              <a:rPr lang="hu-HU" sz="2200">
                <a:solidFill>
                  <a:schemeClr val="tx2"/>
                </a:solidFill>
              </a:rPr>
              <a:t>metrics</a:t>
            </a:r>
            <a:r>
              <a:rPr lang="hu-HU" sz="2200"/>
              <a:t> for project execution, ensuring projects are completed on time and </a:t>
            </a:r>
            <a:r>
              <a:rPr lang="hu-HU" sz="2200" smtClean="0"/>
              <a:t>within </a:t>
            </a:r>
            <a:r>
              <a:rPr lang="hu-HU" sz="2200"/>
              <a:t>budget.</a:t>
            </a:r>
          </a:p>
          <a:p>
            <a:endParaRPr lang="hu-HU" sz="2000" smtClean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hu-HU" sz="2000" smtClean="0"/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hu-HU" sz="2000"/>
              <a:t>C</a:t>
            </a:r>
            <a:r>
              <a:rPr lang="hu-HU" sz="2000" smtClean="0"/>
              <a:t>an also have certain privileges over projects that the PM is not entitled to (e.g. making business/strategic decisions to put on hold or stop a project completely)</a:t>
            </a:r>
            <a:endParaRPr lang="hu-HU" sz="2000"/>
          </a:p>
        </p:txBody>
      </p:sp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6176" y="4775739"/>
            <a:ext cx="1519345" cy="193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76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001" y="221358"/>
            <a:ext cx="9359999" cy="588082"/>
          </a:xfrm>
        </p:spPr>
        <p:txBody>
          <a:bodyPr/>
          <a:lstStyle/>
          <a:p>
            <a:r>
              <a:rPr lang="hu-HU" smtClean="0"/>
              <a:t>Who needs a </a:t>
            </a:r>
            <a:r>
              <a:rPr lang="en-US" smtClean="0"/>
              <a:t>pmo</a:t>
            </a:r>
            <a:r>
              <a:rPr lang="hu-HU" smtClean="0"/>
              <a:t>?</a:t>
            </a:r>
            <a:r>
              <a:rPr lang="en-US"/>
              <a:t/>
            </a:r>
            <a:br>
              <a:rPr lang="en-US"/>
            </a:br>
            <a:endParaRPr lang="en-US" sz="2400"/>
          </a:p>
        </p:txBody>
      </p:sp>
      <p:sp>
        <p:nvSpPr>
          <p:cNvPr id="2" name="Rectangle 1"/>
          <p:cNvSpPr/>
          <p:nvPr/>
        </p:nvSpPr>
        <p:spPr>
          <a:xfrm>
            <a:off x="360002" y="2231565"/>
            <a:ext cx="556579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Projects </a:t>
            </a:r>
            <a:r>
              <a:rPr lang="hu-HU"/>
              <a:t>are not properly aligned with business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goals</a:t>
            </a:r>
            <a:r>
              <a:rPr lang="hu-HU" smtClean="0"/>
              <a:t>/do </a:t>
            </a:r>
            <a:r>
              <a:rPr lang="hu-HU"/>
              <a:t>not deliver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usiness </a:t>
            </a:r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alue</a:t>
            </a:r>
            <a:endParaRPr lang="hu-HU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7" name="Rectangle 6"/>
          <p:cNvSpPr/>
          <p:nvPr/>
        </p:nvSpPr>
        <p:spPr>
          <a:xfrm>
            <a:off x="360002" y="712544"/>
            <a:ext cx="2992798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You may need a PMO if:</a:t>
            </a:r>
            <a:endParaRPr lang="hu-HU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1536" y="2022134"/>
            <a:ext cx="1038225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4067909" y="1435449"/>
            <a:ext cx="5565797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Projects finish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ater than planned </a:t>
            </a:r>
            <a:r>
              <a:rPr lang="hu-HU"/>
              <a:t>or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ver </a:t>
            </a:r>
            <a:r>
              <a:rPr lang="hu-HU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udge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067909" y="3152771"/>
            <a:ext cx="476115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 smtClean="0"/>
              <a:t>Stakeholders </a:t>
            </a:r>
            <a:r>
              <a:rPr lang="hu-HU"/>
              <a:t>do not have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isibility</a:t>
            </a:r>
            <a:r>
              <a:rPr lang="hu-HU"/>
              <a:t> into project progr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360001" y="4104419"/>
            <a:ext cx="5038725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ctr"/>
            <a:r>
              <a:rPr lang="hu-HU" smtClean="0"/>
              <a:t>No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andardized process </a:t>
            </a:r>
            <a:r>
              <a:rPr lang="hu-HU"/>
              <a:t>for initiating and executing projects</a:t>
            </a:r>
          </a:p>
        </p:txBody>
      </p:sp>
      <p:sp>
        <p:nvSpPr>
          <p:cNvPr id="8" name="Rectangle 7"/>
          <p:cNvSpPr/>
          <p:nvPr/>
        </p:nvSpPr>
        <p:spPr>
          <a:xfrm>
            <a:off x="4067907" y="4869469"/>
            <a:ext cx="5038725" cy="44627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ctr"/>
            <a:r>
              <a:rPr lang="hu-HU" smtClean="0"/>
              <a:t>Project success cannot be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racked</a:t>
            </a:r>
            <a:r>
              <a:rPr lang="hu-HU" smtClean="0"/>
              <a:t> accurately</a:t>
            </a:r>
            <a:endParaRPr lang="hu-HU"/>
          </a:p>
        </p:txBody>
      </p:sp>
      <p:sp>
        <p:nvSpPr>
          <p:cNvPr id="14" name="Rectangle 13"/>
          <p:cNvSpPr/>
          <p:nvPr/>
        </p:nvSpPr>
        <p:spPr>
          <a:xfrm>
            <a:off x="360000" y="5782411"/>
            <a:ext cx="602064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hu-HU"/>
              <a:t>S</a:t>
            </a:r>
            <a:r>
              <a:rPr lang="en-US"/>
              <a:t>kills and resources across projects and programmes </a:t>
            </a:r>
            <a:r>
              <a:rPr lang="hu-HU"/>
              <a:t>are not </a:t>
            </a:r>
            <a:r>
              <a:rPr lang="hu-HU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fficiently used</a:t>
            </a:r>
          </a:p>
        </p:txBody>
      </p:sp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9053" y="3166997"/>
            <a:ext cx="10953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4399" y="3944019"/>
            <a:ext cx="95250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5241" y="4710874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3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9623" y="5397457"/>
            <a:ext cx="1481625" cy="130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0028" y="1187466"/>
            <a:ext cx="733425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293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338528" y="4998608"/>
            <a:ext cx="8017072" cy="163121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338528" y="3085568"/>
            <a:ext cx="8017072" cy="171778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38527" y="1475499"/>
            <a:ext cx="8017072" cy="1410539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85B2FC-D18E-4EA2-A103-6DCF88856111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levels of Pmo</a:t>
            </a:r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38529" y="4960136"/>
            <a:ext cx="8017072" cy="161582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rective 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Takes </a:t>
            </a:r>
            <a:r>
              <a:rPr lang="hu-HU" sz="2000"/>
              <a:t>over </a:t>
            </a:r>
            <a:r>
              <a:rPr lang="hu-HU" sz="2000" smtClean="0"/>
              <a:t>the management of the </a:t>
            </a:r>
            <a:r>
              <a:rPr lang="hu-HU" sz="2000"/>
              <a:t>project </a:t>
            </a:r>
            <a:r>
              <a:rPr lang="hu-HU" sz="2000" smtClean="0"/>
              <a:t>by providing experience </a:t>
            </a:r>
            <a:r>
              <a:rPr lang="hu-HU" sz="2000"/>
              <a:t>and </a:t>
            </a:r>
            <a:r>
              <a:rPr lang="hu-HU" sz="2000" smtClean="0"/>
              <a:t>resources.</a:t>
            </a:r>
            <a:br>
              <a:rPr lang="hu-HU" sz="2000" smtClean="0"/>
            </a:br>
            <a:r>
              <a:rPr lang="hu-HU" sz="2000" smtClean="0"/>
              <a:t>This </a:t>
            </a:r>
            <a:r>
              <a:rPr lang="hu-HU" sz="2000"/>
              <a:t>requires </a:t>
            </a:r>
            <a:r>
              <a:rPr lang="hu-HU" sz="2000">
                <a:solidFill>
                  <a:schemeClr val="tx2"/>
                </a:solidFill>
              </a:rPr>
              <a:t>high maturity PMOs</a:t>
            </a:r>
            <a:r>
              <a:rPr lang="hu-HU" sz="2000"/>
              <a:t>, usually professional project </a:t>
            </a:r>
            <a:r>
              <a:rPr lang="hu-HU" sz="2000" smtClean="0"/>
              <a:t>manager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</a:t>
            </a:r>
            <a:r>
              <a:rPr lang="hu-HU" sz="2000"/>
              <a:t>a high degree of control in projects</a:t>
            </a:r>
            <a:r>
              <a:rPr lang="hu-HU" sz="2000" smtClean="0"/>
              <a:t>.</a:t>
            </a:r>
            <a:endParaRPr lang="hu-HU" sz="20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PTE MIK PM1 2018/19-1        -        PMO Basics</a:t>
            </a:r>
            <a:endParaRPr lang="en-US" noProof="0" dirty="0" smtClean="0"/>
          </a:p>
        </p:txBody>
      </p:sp>
      <p:sp>
        <p:nvSpPr>
          <p:cNvPr id="6" name="Rectangle 5"/>
          <p:cNvSpPr/>
          <p:nvPr/>
        </p:nvSpPr>
        <p:spPr>
          <a:xfrm>
            <a:off x="338529" y="1415373"/>
            <a:ext cx="8017071" cy="13080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upportive 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Supplies guidelines, templates, best practice, training, some status repor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no or very little influence and control over projects.</a:t>
            </a:r>
          </a:p>
        </p:txBody>
      </p:sp>
      <p:sp>
        <p:nvSpPr>
          <p:cNvPr id="8" name="Rectangle 7"/>
          <p:cNvSpPr/>
          <p:nvPr/>
        </p:nvSpPr>
        <p:spPr>
          <a:xfrm>
            <a:off x="338529" y="3047096"/>
            <a:ext cx="8017071" cy="161582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sz="200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ontrolling </a:t>
            </a:r>
            <a:r>
              <a:rPr lang="hu-HU" sz="200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</a:t>
            </a:r>
          </a:p>
          <a:p>
            <a:endParaRPr lang="hu-HU" sz="14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hu-HU" sz="2000" smtClean="0"/>
              <a:t>Requires </a:t>
            </a:r>
            <a:r>
              <a:rPr lang="hu-HU" sz="2000"/>
              <a:t>compliance to organizational tools, processes, and standards </a:t>
            </a:r>
            <a:r>
              <a:rPr lang="hu-HU" sz="2000" smtClean="0"/>
              <a:t>applied.</a:t>
            </a:r>
            <a:br>
              <a:rPr lang="hu-HU" sz="2000" smtClean="0"/>
            </a:br>
            <a:r>
              <a:rPr lang="hu-HU" sz="2000" smtClean="0"/>
              <a:t>In </a:t>
            </a:r>
            <a:r>
              <a:rPr lang="hu-HU" sz="2000"/>
              <a:t>case of non-compliance, </a:t>
            </a:r>
            <a:r>
              <a:rPr lang="hu-HU" sz="2000" smtClean="0"/>
              <a:t>initiates </a:t>
            </a:r>
            <a:r>
              <a:rPr lang="hu-HU" sz="2000"/>
              <a:t>and </a:t>
            </a:r>
            <a:r>
              <a:rPr lang="hu-HU" sz="2000" smtClean="0"/>
              <a:t>enforces </a:t>
            </a:r>
            <a:r>
              <a:rPr lang="hu-HU" sz="2000"/>
              <a:t>corrective </a:t>
            </a:r>
            <a:r>
              <a:rPr lang="hu-HU" sz="2000" smtClean="0"/>
              <a:t>action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hu-HU" sz="2000" smtClean="0"/>
              <a:t>Has </a:t>
            </a:r>
            <a:r>
              <a:rPr lang="hu-HU" sz="2000"/>
              <a:t>a moderate degree of control in projects</a:t>
            </a:r>
            <a:r>
              <a:rPr lang="hu-HU" sz="2000" smtClean="0"/>
              <a:t>.</a:t>
            </a:r>
            <a:endParaRPr lang="hu-HU" sz="2000"/>
          </a:p>
        </p:txBody>
      </p:sp>
      <p:sp>
        <p:nvSpPr>
          <p:cNvPr id="9" name="Rectangle 8"/>
          <p:cNvSpPr/>
          <p:nvPr/>
        </p:nvSpPr>
        <p:spPr>
          <a:xfrm>
            <a:off x="338527" y="892194"/>
            <a:ext cx="9359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MOs operate according to the organization</a:t>
            </a:r>
            <a:r>
              <a:rPr lang="hu-HU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’</a:t>
            </a:r>
            <a:r>
              <a:rPr lang="en-US" sz="180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 needs and goals, so each PMO is structured </a:t>
            </a:r>
            <a:r>
              <a:rPr lang="en-US" sz="1800" smtClean="0">
                <a:solidFill>
                  <a:schemeClr val="tx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fferently</a:t>
            </a:r>
            <a:endParaRPr lang="hu-HU" sz="180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8355601" y="1475499"/>
            <a:ext cx="898568" cy="1410539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Weak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8355599" y="3085568"/>
            <a:ext cx="898568" cy="1717785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Balanced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8356173" y="4998608"/>
            <a:ext cx="898568" cy="1631216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vert270"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smtClean="0">
                <a:solidFill>
                  <a:schemeClr val="bg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Strong matrix</a:t>
            </a:r>
            <a:endParaRPr lang="en-US" sz="1800" dirty="0" smtClean="0">
              <a:solidFill>
                <a:schemeClr val="bg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5590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_MASTER_4-3_EN_20161212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-Systems_MASTER_4-3_EN_20161212" id="{AE2220AC-7902-4E08-8307-9FC4D3010BBB}" vid="{4AC3005C-C50B-4861-A8D5-34A3B72D79DA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61212</Template>
  <TotalTime>0</TotalTime>
  <Words>1048</Words>
  <Application>Microsoft Office PowerPoint</Application>
  <PresentationFormat>Custom</PresentationFormat>
  <Paragraphs>266</Paragraphs>
  <Slides>28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T-Systems_MASTER_4-3_EN_20161212</vt:lpstr>
      <vt:lpstr>think-cell Folie</vt:lpstr>
      <vt:lpstr>Project management  Pmo – the basics</vt:lpstr>
      <vt:lpstr>History of PMO</vt:lpstr>
      <vt:lpstr>History of PMO</vt:lpstr>
      <vt:lpstr>History of PMO</vt:lpstr>
      <vt:lpstr>History of PMO</vt:lpstr>
      <vt:lpstr>History of PMO</vt:lpstr>
      <vt:lpstr>Definition of pmo</vt:lpstr>
      <vt:lpstr>Who needs a pmo? </vt:lpstr>
      <vt:lpstr>levels of Pmo</vt:lpstr>
      <vt:lpstr>PMO maturity</vt:lpstr>
      <vt:lpstr>PMO maturity</vt:lpstr>
      <vt:lpstr>PMO maturity</vt:lpstr>
      <vt:lpstr>PMO maturity</vt:lpstr>
      <vt:lpstr>PMO maturity</vt:lpstr>
      <vt:lpstr>PMO maturity</vt:lpstr>
      <vt:lpstr>T&amp;T PROJECT Organization sample – Mirrored Project Organization</vt:lpstr>
      <vt:lpstr>Pmo key tasks</vt:lpstr>
      <vt:lpstr>PMO tasks – initiation &amp; planning     1/3</vt:lpstr>
      <vt:lpstr>PMO Tool-KIT            2/3</vt:lpstr>
      <vt:lpstr>PMO roles &amp; Tasks – on wide-scale    3/3</vt:lpstr>
      <vt:lpstr>Resource management tool</vt:lpstr>
      <vt:lpstr>Resource forecast report</vt:lpstr>
      <vt:lpstr>Resource forecast report</vt:lpstr>
      <vt:lpstr>Communication register – simple</vt:lpstr>
      <vt:lpstr>Communication calendar</vt:lpstr>
      <vt:lpstr>Risk/issue log &amp; action  item list</vt:lpstr>
      <vt:lpstr>PMO’s Reporting basics </vt:lpstr>
      <vt:lpstr>PMO success factor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O introduction for PTE_nk</dc:title>
  <dc:subject>PTE PMO Lecture 2018/1_eng</dc:subject>
  <dc:creator/>
  <cp:keywords>PMO</cp:keywords>
  <dc:description>eng</dc:description>
  <cp:lastModifiedBy/>
  <cp:revision>1</cp:revision>
  <dcterms:created xsi:type="dcterms:W3CDTF">2018-10-06T09:35:57Z</dcterms:created>
  <dcterms:modified xsi:type="dcterms:W3CDTF">2018-10-09T09:2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140087</vt:lpwstr>
  </property>
  <property fmtid="{D5CDD505-2E9C-101B-9397-08002B2CF9AE}" pid="3" name="NXPowerLiteSettings">
    <vt:lpwstr>F980073804F000</vt:lpwstr>
  </property>
  <property fmtid="{D5CDD505-2E9C-101B-9397-08002B2CF9AE}" pid="4" name="NXPowerLiteVersion">
    <vt:lpwstr>D6.2.12</vt:lpwstr>
  </property>
</Properties>
</file>